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48" r:id="rId12"/>
  </p:sldMasterIdLst>
  <p:notesMasterIdLst>
    <p:notesMasterId r:id="rId29"/>
  </p:notesMasterIdLst>
  <p:handoutMasterIdLst>
    <p:handoutMasterId r:id="rId30"/>
  </p:handoutMasterIdLst>
  <p:sldIdLst>
    <p:sldId id="256" r:id="rId13"/>
    <p:sldId id="264" r:id="rId14"/>
    <p:sldId id="2145703940" r:id="rId15"/>
    <p:sldId id="260" r:id="rId16"/>
    <p:sldId id="2145703947" r:id="rId17"/>
    <p:sldId id="2145703944" r:id="rId18"/>
    <p:sldId id="2145703946" r:id="rId19"/>
    <p:sldId id="2145703956" r:id="rId20"/>
    <p:sldId id="2145703943" r:id="rId21"/>
    <p:sldId id="2145703948" r:id="rId22"/>
    <p:sldId id="2145703939" r:id="rId23"/>
    <p:sldId id="2145703950" r:id="rId24"/>
    <p:sldId id="2145703951" r:id="rId25"/>
    <p:sldId id="2145703953" r:id="rId26"/>
    <p:sldId id="2145703952" r:id="rId27"/>
    <p:sldId id="2145703954" r:id="rId28"/>
  </p:sldIdLst>
  <p:sldSz cx="12192000" cy="6858000"/>
  <p:notesSz cx="6858000" cy="9144000"/>
  <p:embeddedFontLst>
    <p:embeddedFont>
      <p:font typeface="DIF" pitchFamily="2" charset="0"/>
      <p:regular r:id="rId31"/>
      <p:bold r:id="rId32"/>
      <p:italic r:id="rId33"/>
    </p:embeddedFont>
    <p:embeddedFont>
      <p:font typeface="DIF Semibold" pitchFamily="2" charset="0"/>
      <p:regular r:id="rId34"/>
      <p:bold r:id="rId3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6A32"/>
    <a:srgbClr val="105829"/>
    <a:srgbClr val="00451E"/>
    <a:srgbClr val="1E7A3A"/>
    <a:srgbClr val="2494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033" autoAdjust="0"/>
    <p:restoredTop sz="96344" autoAdjust="0"/>
  </p:normalViewPr>
  <p:slideViewPr>
    <p:cSldViewPr snapToGrid="0" showGuides="1">
      <p:cViewPr varScale="1">
        <p:scale>
          <a:sx n="197" d="100"/>
          <a:sy n="197" d="100"/>
        </p:scale>
        <p:origin x="1600" y="200"/>
      </p:cViewPr>
      <p:guideLst/>
    </p:cSldViewPr>
  </p:slideViewPr>
  <p:outlineViewPr>
    <p:cViewPr>
      <p:scale>
        <a:sx n="33" d="100"/>
        <a:sy n="33" d="100"/>
      </p:scale>
      <p:origin x="0" y="-132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7" d="100"/>
          <a:sy n="97" d="100"/>
        </p:scale>
        <p:origin x="312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tableStyles" Target="tableStyles.xml"/><Relationship Id="rId21" Type="http://schemas.openxmlformats.org/officeDocument/2006/relationships/slide" Target="slides/slide9.xml"/><Relationship Id="rId34" Type="http://schemas.openxmlformats.org/officeDocument/2006/relationships/font" Target="fonts/font4.fntdata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font" Target="fonts/font3.fntdata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2.xml"/><Relationship Id="rId32" Type="http://schemas.openxmlformats.org/officeDocument/2006/relationships/font" Target="fonts/font2.fntdata"/><Relationship Id="rId3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slide" Target="slides/slide7.xml"/><Relationship Id="rId31" Type="http://schemas.openxmlformats.org/officeDocument/2006/relationships/font" Target="fonts/font1.fnt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handoutMaster" Target="handoutMasters/handoutMaster1.xml"/><Relationship Id="rId35" Type="http://schemas.openxmlformats.org/officeDocument/2006/relationships/font" Target="fonts/font5.fntdata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3FFB1A-3D03-4CAF-BD83-94BC0DD1D11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Header Placeholder 2">
            <a:extLst>
              <a:ext uri="{FF2B5EF4-FFF2-40B4-BE49-F238E27FC236}">
                <a16:creationId xmlns:a16="http://schemas.microsoft.com/office/drawing/2014/main" id="{F78585ED-E09F-4544-9D28-61960CDC78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73BD75-AA93-4F77-AAFD-71EBF7C5623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F589A6-933D-4608-9D44-B77F894B448C}" type="datetime1">
              <a:rPr lang="en-GB" smtClean="0"/>
              <a:t>09/04/2026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1FA956-9989-4246-8A28-4D201CBFBA6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71E504-7D2F-4226-9493-8292EE5D077C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F185A3-66D2-4D10-89A9-2033FCB223F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Slide Image Placeholder 2">
            <a:extLst>
              <a:ext uri="{FF2B5EF4-FFF2-40B4-BE49-F238E27FC236}">
                <a16:creationId xmlns:a16="http://schemas.microsoft.com/office/drawing/2014/main" id="{C7B05EB1-0120-43C4-9E3F-C19C6476CD7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5E5836E-8170-4804-9800-6AE5EBBE42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AB016-25EA-425F-9A59-14BC385A1D1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4A2092-4772-47A3-8F6A-7F4120FFC741}" type="datetime1">
              <a:rPr lang="en-GB" smtClean="0"/>
              <a:t>09/04/2026</a:t>
            </a:fld>
            <a:endParaRPr lang="en-GB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41D9AB7-224F-42A1-8469-C71F2146F3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C28F7B-22D6-4FFA-899B-97B397D45F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4A5A2F-ECD0-4A51-A9E7-D8DA645BD5C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2A8F7B2-A675-4BCA-8D4D-A3A902AFA041}" type="datetime1">
              <a:rPr lang="da-DK" smtClean="0"/>
              <a:t>09.04.2026</a:t>
            </a:fld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A5A2F-ECD0-4A51-A9E7-D8DA645BD5CD}" type="slidenum">
              <a:rPr lang="da-DK" smtClean="0"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451627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dsholder til dato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04A2092-4772-47A3-8F6A-7F4120FFC741}" type="datetime1">
              <a:rPr lang="en-GB" smtClean="0"/>
              <a:t>09/04/2026</a:t>
            </a:fld>
            <a:endParaRPr lang="en-GB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A5A2F-ECD0-4A51-A9E7-D8DA645BD5CD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73801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/>
              <a:t>Nu gennemgår vi hele rammen for STARTBLOKKEN, altså hvordan vi arbejder på de tre forskellige niveauer og hvordan disse niveauer bindes sammen både lokalt og nationalt. 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dsholder til dato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04A2092-4772-47A3-8F6A-7F4120FFC741}" type="datetime1">
              <a:rPr lang="en-GB" smtClean="0"/>
              <a:t>09/04/2026</a:t>
            </a:fld>
            <a:endParaRPr lang="en-GB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A5A2F-ECD0-4A51-A9E7-D8DA645BD5CD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42114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dsholder til dato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04A2092-4772-47A3-8F6A-7F4120FFC741}" type="datetime1">
              <a:rPr lang="en-GB" smtClean="0"/>
              <a:t>09/04/2026</a:t>
            </a:fld>
            <a:endParaRPr lang="en-GB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A5A2F-ECD0-4A51-A9E7-D8DA645BD5CD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123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14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16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7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18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15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sv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1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sv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5.svg"/><Relationship Id="rId7" Type="http://schemas.openxmlformats.org/officeDocument/2006/relationships/image" Target="../media/image10.svg"/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8.svg"/><Relationship Id="rId4" Type="http://schemas.openxmlformats.org/officeDocument/2006/relationships/image" Target="../media/image1.svg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FAC78685-2AE8-4790-9E15-2028753F5FF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8E82E86-3436-4ED0-B14D-99DD61DDFAA3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8" name="Footer Placeholder 8" hidden="1">
            <a:extLst>
              <a:ext uri="{FF2B5EF4-FFF2-40B4-BE49-F238E27FC236}">
                <a16:creationId xmlns:a16="http://schemas.microsoft.com/office/drawing/2014/main" id="{B6981A3E-B3C5-4F78-81B7-270B06EFC9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8735CF21-6327-43B3-A6B4-E856B24D6FD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1710000"/>
            <a:ext cx="7286400" cy="3168000"/>
          </a:xfrm>
        </p:spPr>
        <p:txBody>
          <a:bodyPr anchor="t" anchorCtr="0"/>
          <a:lstStyle>
            <a:lvl1pPr algn="l">
              <a:defRPr sz="5400">
                <a:solidFill>
                  <a:srgbClr val="186A32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27" name="Pladsholder til billede 21">
            <a:extLst>
              <a:ext uri="{FF2B5EF4-FFF2-40B4-BE49-F238E27FC236}">
                <a16:creationId xmlns:a16="http://schemas.microsoft.com/office/drawing/2014/main" id="{D99B6A6B-F04C-BFC7-75F3-0D615503ADB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098088" y="488149"/>
            <a:ext cx="1598399" cy="1078921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ACBE2EE5-43B3-AD86-D8B2-22EDD52AF1E8}"/>
              </a:ext>
            </a:extLst>
          </p:cNvPr>
          <p:cNvSpPr txBox="1">
            <a:spLocks/>
          </p:cNvSpPr>
          <p:nvPr userDrawn="1"/>
        </p:nvSpPr>
        <p:spPr>
          <a:xfrm>
            <a:off x="692149" y="710400"/>
            <a:ext cx="7286400" cy="320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800" b="0" kern="1200">
                <a:solidFill>
                  <a:srgbClr val="186A3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800" b="0" kern="1200">
                <a:solidFill>
                  <a:srgbClr val="186A3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800" b="0" kern="1200">
                <a:solidFill>
                  <a:srgbClr val="186A3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0" kern="1200" cap="all" baseline="0">
                <a:solidFill>
                  <a:srgbClr val="186A3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800" b="0" kern="1200">
                <a:solidFill>
                  <a:srgbClr val="186A3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800" b="0" kern="1200">
                <a:solidFill>
                  <a:srgbClr val="186A3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800" b="0" kern="1200" cap="all" baseline="0">
                <a:solidFill>
                  <a:srgbClr val="186A3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800" b="0" kern="1200">
                <a:solidFill>
                  <a:srgbClr val="186A3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0" kern="1200" cap="all" baseline="0">
                <a:solidFill>
                  <a:srgbClr val="186A3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/>
              <a:t>Klik for at tilføje undertitel</a:t>
            </a:r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2D7F82AC-6C71-09CA-318D-9B5215B409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3194"/>
            <a:ext cx="12192000" cy="533399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A455FAF9-D3FC-48DE-9385-1EADF32999D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4014" t="28202"/>
          <a:stretch/>
        </p:blipFill>
        <p:spPr>
          <a:xfrm flipH="1" flipV="1">
            <a:off x="6518258" y="2112006"/>
            <a:ext cx="5673742" cy="4745994"/>
          </a:xfrm>
          <a:custGeom>
            <a:avLst/>
            <a:gdLst>
              <a:gd name="connsiteX0" fmla="*/ 5673742 w 5673742"/>
              <a:gd name="connsiteY0" fmla="*/ 4745994 h 4745994"/>
              <a:gd name="connsiteX1" fmla="*/ 0 w 5673742"/>
              <a:gd name="connsiteY1" fmla="*/ 4745994 h 4745994"/>
              <a:gd name="connsiteX2" fmla="*/ 0 w 5673742"/>
              <a:gd name="connsiteY2" fmla="*/ 0 h 4745994"/>
              <a:gd name="connsiteX3" fmla="*/ 5673742 w 5673742"/>
              <a:gd name="connsiteY3" fmla="*/ 0 h 4745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3742" h="4745994">
                <a:moveTo>
                  <a:pt x="5673742" y="4745994"/>
                </a:moveTo>
                <a:lnTo>
                  <a:pt x="0" y="4745994"/>
                </a:lnTo>
                <a:lnTo>
                  <a:pt x="0" y="0"/>
                </a:lnTo>
                <a:lnTo>
                  <a:pt x="5673742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bg>
      <p:bgPr>
        <a:gradFill>
          <a:gsLst>
            <a:gs pos="0">
              <a:srgbClr val="249446"/>
            </a:gs>
            <a:gs pos="100000">
              <a:srgbClr val="00451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65F358-3D0B-4C30-94C6-9BC8E1B3EA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agenda tit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1602768"/>
            <a:ext cx="2301773" cy="4118268"/>
          </a:xfrm>
        </p:spPr>
        <p:txBody>
          <a:bodyPr/>
          <a:lstStyle>
            <a:lvl1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tx1"/>
                </a:solidFill>
                <a:latin typeface="+mn-lt"/>
              </a:defRPr>
            </a:lvl3pPr>
            <a:lvl4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tx1"/>
                </a:solidFill>
                <a:latin typeface="+mn-lt"/>
              </a:defRPr>
            </a:lvl4pPr>
            <a:lvl5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tx1"/>
                </a:solidFill>
                <a:latin typeface="+mn-lt"/>
              </a:defRPr>
            </a:lvl6pPr>
            <a:lvl7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tx1"/>
                </a:solidFill>
                <a:latin typeface="+mn-lt"/>
              </a:defRPr>
            </a:lvl7pPr>
            <a:lvl8pPr>
              <a:lnSpc>
                <a:spcPts val="3600"/>
              </a:lnSpc>
              <a:spcAft>
                <a:spcPts val="0"/>
              </a:spcAft>
              <a:defRPr sz="2400" b="0" spc="50">
                <a:solidFill>
                  <a:schemeClr val="tx1"/>
                </a:solidFill>
                <a:latin typeface="+mn-lt"/>
              </a:defRPr>
            </a:lvl8pPr>
            <a:lvl9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dirty="0"/>
              <a:t>09.00-09.45</a:t>
            </a:r>
          </a:p>
          <a:p>
            <a:pPr lvl="1"/>
            <a:r>
              <a:rPr lang="da-DK" dirty="0"/>
              <a:t>02</a:t>
            </a:r>
          </a:p>
          <a:p>
            <a:pPr lvl="2"/>
            <a:r>
              <a:rPr lang="da-DK" dirty="0"/>
              <a:t>03</a:t>
            </a:r>
          </a:p>
          <a:p>
            <a:pPr lvl="3"/>
            <a:r>
              <a:rPr lang="da-DK" dirty="0"/>
              <a:t>04</a:t>
            </a:r>
          </a:p>
          <a:p>
            <a:pPr lvl="4"/>
            <a:r>
              <a:rPr lang="da-DK" dirty="0"/>
              <a:t>05</a:t>
            </a:r>
          </a:p>
          <a:p>
            <a:pPr lvl="5"/>
            <a:r>
              <a:rPr lang="da-DK" dirty="0"/>
              <a:t>06</a:t>
            </a:r>
          </a:p>
          <a:p>
            <a:pPr lvl="6"/>
            <a:r>
              <a:rPr lang="da-DK" dirty="0"/>
              <a:t>07</a:t>
            </a:r>
          </a:p>
          <a:p>
            <a:pPr lvl="7"/>
            <a:r>
              <a:rPr lang="da-DK" dirty="0"/>
              <a:t>08</a:t>
            </a:r>
          </a:p>
          <a:p>
            <a:pPr lvl="8"/>
            <a:r>
              <a:rPr lang="da-DK" dirty="0"/>
              <a:t>09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045600" y="1602768"/>
            <a:ext cx="7052400" cy="4128729"/>
          </a:xfrm>
        </p:spPr>
        <p:txBody>
          <a:bodyPr/>
          <a:lstStyle>
            <a:lvl1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cap="all" spc="5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 cap="all" spc="5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1" cap="all" spc="5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 cap="all" spc="5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1" cap="all" spc="5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 cap="all" spc="5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1" cap="all" spc="5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 cap="all" spc="5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36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b="1" cap="all" spc="5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 dirty="0"/>
              <a:t>Klik for at tilføje agendapunkt       2 Niveau</a:t>
            </a:r>
          </a:p>
          <a:p>
            <a:pPr lvl="2"/>
            <a:r>
              <a:rPr lang="da-DK" noProof="0" dirty="0"/>
              <a:t>3 Niveau</a:t>
            </a:r>
          </a:p>
          <a:p>
            <a:pPr lvl="3"/>
            <a:r>
              <a:rPr lang="da-DK" noProof="0" dirty="0"/>
              <a:t>4 Niveau</a:t>
            </a:r>
          </a:p>
          <a:p>
            <a:pPr lvl="4"/>
            <a:r>
              <a:rPr lang="da-DK" noProof="0" dirty="0"/>
              <a:t>5 Niveau</a:t>
            </a:r>
          </a:p>
          <a:p>
            <a:pPr lvl="5"/>
            <a:r>
              <a:rPr lang="da-DK" noProof="0" dirty="0"/>
              <a:t>6 Niveau</a:t>
            </a:r>
          </a:p>
          <a:p>
            <a:pPr lvl="6"/>
            <a:r>
              <a:rPr lang="da-DK" noProof="0" dirty="0"/>
              <a:t>7 Niveau</a:t>
            </a:r>
          </a:p>
          <a:p>
            <a:pPr lvl="7"/>
            <a:r>
              <a:rPr lang="da-DK" noProof="0" dirty="0"/>
              <a:t>8 Niveau</a:t>
            </a:r>
          </a:p>
          <a:p>
            <a:pPr lvl="8"/>
            <a:r>
              <a:rPr lang="da-DK" noProof="0" dirty="0"/>
              <a:t>9 Niveau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E91603E-4220-EDD7-FA2F-23086FE2ADC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5" name="Pladsholder til tekst 5">
            <a:extLst>
              <a:ext uri="{FF2B5EF4-FFF2-40B4-BE49-F238E27FC236}">
                <a16:creationId xmlns:a16="http://schemas.microsoft.com/office/drawing/2014/main" id="{60F93676-3DB0-09A3-278A-29D87A4ABA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630307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bg>
      <p:bgPr>
        <a:gradFill>
          <a:gsLst>
            <a:gs pos="0">
              <a:srgbClr val="249446"/>
            </a:gs>
            <a:gs pos="100000">
              <a:srgbClr val="00451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C5298824-C6F8-49EA-91D0-8314D9FAE1A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80C4B5C-C29C-4840-B187-B3A4F97542A9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12" name="Footer Placeholder 8" hidden="1">
            <a:extLst>
              <a:ext uri="{FF2B5EF4-FFF2-40B4-BE49-F238E27FC236}">
                <a16:creationId xmlns:a16="http://schemas.microsoft.com/office/drawing/2014/main" id="{C5498BFC-780E-4E7C-8BAE-F30D0016D79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Slide Number Placeholder 10" hidden="1">
            <a:extLst>
              <a:ext uri="{FF2B5EF4-FFF2-40B4-BE49-F238E27FC236}">
                <a16:creationId xmlns:a16="http://schemas.microsoft.com/office/drawing/2014/main" id="{955A3565-69C4-4983-AEC6-F7A9FEACC0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65F358-3D0B-4C30-94C6-9BC8E1B3EA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708150"/>
            <a:ext cx="7646400" cy="1728000"/>
          </a:xfrm>
        </p:spPr>
        <p:txBody>
          <a:bodyPr/>
          <a:lstStyle>
            <a:lvl1pPr>
              <a:defRPr sz="5400" spc="5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agenda tit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0000" y="540000"/>
            <a:ext cx="7646400" cy="324000"/>
          </a:xfrm>
        </p:spPr>
        <p:txBody>
          <a:bodyPr/>
          <a:lstStyle>
            <a:lvl1pPr marL="0" indent="0">
              <a:lnSpc>
                <a:spcPct val="93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spc="5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3000"/>
              </a:lnSpc>
              <a:spcAft>
                <a:spcPts val="1200"/>
              </a:spcAft>
              <a:buFont typeface="Arial" panose="020B0604020202020204" pitchFamily="34" charset="0"/>
              <a:buNone/>
              <a:defRPr sz="1800" b="0" spc="5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3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spc="5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93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0" spc="5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93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3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0" spc="50">
                <a:solidFill>
                  <a:schemeClr val="bg1"/>
                </a:solidFill>
                <a:latin typeface="+mn-lt"/>
              </a:defRPr>
            </a:lvl6pPr>
            <a:lvl7pPr>
              <a:lnSpc>
                <a:spcPct val="93000"/>
              </a:lnSpc>
              <a:spcAft>
                <a:spcPts val="1200"/>
              </a:spcAft>
              <a:defRPr sz="1800" b="1" spc="5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93000"/>
              </a:lnSpc>
              <a:spcAft>
                <a:spcPts val="1200"/>
              </a:spcAft>
              <a:defRPr sz="1800" b="0" spc="5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93000"/>
              </a:lnSpc>
              <a:spcAft>
                <a:spcPts val="1200"/>
              </a:spcAft>
              <a:defRPr sz="1800" b="1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dirty="0"/>
              <a:t>09.00-09.45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1F61B2B-37AE-7627-571D-6BBD2CF9144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5" name="Pladsholder til tekst 5">
            <a:extLst>
              <a:ext uri="{FF2B5EF4-FFF2-40B4-BE49-F238E27FC236}">
                <a16:creationId xmlns:a16="http://schemas.microsoft.com/office/drawing/2014/main" id="{CD2AC4B8-E0BF-EE40-36FF-1423AADDB84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06076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B">
    <p:bg>
      <p:bgPr>
        <a:gradFill>
          <a:gsLst>
            <a:gs pos="0">
              <a:srgbClr val="249446"/>
            </a:gs>
            <a:gs pos="100000">
              <a:srgbClr val="00451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C5298824-C6F8-49EA-91D0-8314D9FAE1A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80C4B5C-C29C-4840-B187-B3A4F97542A9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12" name="Footer Placeholder 8" hidden="1">
            <a:extLst>
              <a:ext uri="{FF2B5EF4-FFF2-40B4-BE49-F238E27FC236}">
                <a16:creationId xmlns:a16="http://schemas.microsoft.com/office/drawing/2014/main" id="{C5498BFC-780E-4E7C-8BAE-F30D0016D79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Slide Number Placeholder 10" hidden="1">
            <a:extLst>
              <a:ext uri="{FF2B5EF4-FFF2-40B4-BE49-F238E27FC236}">
                <a16:creationId xmlns:a16="http://schemas.microsoft.com/office/drawing/2014/main" id="{955A3565-69C4-4983-AEC6-F7A9FEACC0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65F358-3D0B-4C30-94C6-9BC8E1B3EA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708150"/>
            <a:ext cx="7646400" cy="1728000"/>
          </a:xfrm>
        </p:spPr>
        <p:txBody>
          <a:bodyPr/>
          <a:lstStyle>
            <a:lvl1pPr>
              <a:defRPr sz="5400" spc="5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agenda tit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0000" y="540000"/>
            <a:ext cx="7646400" cy="324000"/>
          </a:xfrm>
        </p:spPr>
        <p:txBody>
          <a:bodyPr/>
          <a:lstStyle>
            <a:lvl1pPr marL="0" indent="0">
              <a:lnSpc>
                <a:spcPct val="93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spc="5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3000"/>
              </a:lnSpc>
              <a:spcAft>
                <a:spcPts val="1200"/>
              </a:spcAft>
              <a:buFont typeface="Arial" panose="020B0604020202020204" pitchFamily="34" charset="0"/>
              <a:buNone/>
              <a:defRPr sz="1800" b="0" spc="5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3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spc="5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93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0" spc="5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93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3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0" spc="50">
                <a:solidFill>
                  <a:schemeClr val="bg1"/>
                </a:solidFill>
                <a:latin typeface="+mn-lt"/>
              </a:defRPr>
            </a:lvl6pPr>
            <a:lvl7pPr>
              <a:lnSpc>
                <a:spcPct val="93000"/>
              </a:lnSpc>
              <a:spcAft>
                <a:spcPts val="1200"/>
              </a:spcAft>
              <a:defRPr sz="1800" b="1" spc="5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93000"/>
              </a:lnSpc>
              <a:spcAft>
                <a:spcPts val="1200"/>
              </a:spcAft>
              <a:defRPr sz="1800" b="0" spc="5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93000"/>
              </a:lnSpc>
              <a:spcAft>
                <a:spcPts val="1200"/>
              </a:spcAft>
              <a:defRPr sz="1800" b="1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dirty="0"/>
              <a:t>09.00-09.45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1F61B2B-37AE-7627-571D-6BBD2CF9144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13688B3-0370-D8D5-3B1E-03C616AF2E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68364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">
    <p:bg>
      <p:bgPr>
        <a:gradFill>
          <a:gsLst>
            <a:gs pos="0">
              <a:srgbClr val="249446"/>
            </a:gs>
            <a:gs pos="100000">
              <a:srgbClr val="00451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65F358-3D0B-4C30-94C6-9BC8E1B3EA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agenda tit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0000" y="1602767"/>
            <a:ext cx="1456198" cy="1296000"/>
          </a:xfrm>
        </p:spPr>
        <p:txBody>
          <a:bodyPr/>
          <a:lstStyle>
            <a:lvl1pPr marL="0" indent="0">
              <a:lnSpc>
                <a:spcPct val="92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800" b="1" spc="50">
                <a:solidFill>
                  <a:schemeClr val="tx1"/>
                </a:solidFill>
                <a:latin typeface="DIF Stencil" pitchFamily="2" charset="0"/>
              </a:defRPr>
            </a:lvl1pPr>
            <a:lvl2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800" b="0" spc="50">
                <a:solidFill>
                  <a:schemeClr val="bg1"/>
                </a:solidFill>
                <a:latin typeface="DIF Stencil" pitchFamily="2" charset="0"/>
              </a:defRPr>
            </a:lvl2pPr>
            <a:lvl3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bg1"/>
                </a:solidFill>
                <a:latin typeface="+mn-lt"/>
              </a:defRPr>
            </a:lvl3pPr>
            <a:lvl4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bg1"/>
                </a:solidFill>
                <a:latin typeface="+mn-lt"/>
              </a:defRPr>
            </a:lvl4pPr>
            <a:lvl5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bg1"/>
                </a:solidFill>
                <a:latin typeface="+mn-lt"/>
              </a:defRPr>
            </a:lvl6pPr>
            <a:lvl7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bg1"/>
                </a:solidFill>
                <a:latin typeface="+mn-lt"/>
              </a:defRPr>
            </a:lvl7pPr>
            <a:lvl8pPr>
              <a:lnSpc>
                <a:spcPts val="3600"/>
              </a:lnSpc>
              <a:spcAft>
                <a:spcPts val="0"/>
              </a:spcAft>
              <a:defRPr sz="2400" b="0" spc="50">
                <a:solidFill>
                  <a:schemeClr val="bg1"/>
                </a:solidFill>
                <a:latin typeface="+mn-lt"/>
              </a:defRPr>
            </a:lvl8pPr>
            <a:lvl9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2903320"/>
            <a:ext cx="2520000" cy="529200"/>
          </a:xfrm>
        </p:spPr>
        <p:txBody>
          <a:bodyPr/>
          <a:lstStyle>
            <a:lvl1pPr marL="0" indent="0">
              <a:lnSpc>
                <a:spcPct val="95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cap="all" spc="5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C2C7BAE-5AA2-4AA0-B289-9FC4281124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02400" y="1602767"/>
            <a:ext cx="1456198" cy="1296000"/>
          </a:xfrm>
        </p:spPr>
        <p:txBody>
          <a:bodyPr/>
          <a:lstStyle>
            <a:lvl1pPr marL="0" indent="0">
              <a:lnSpc>
                <a:spcPct val="92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800" b="1" spc="50">
                <a:solidFill>
                  <a:schemeClr val="tx1"/>
                </a:solidFill>
                <a:latin typeface="DIF Stencil" pitchFamily="2" charset="0"/>
              </a:defRPr>
            </a:lvl1pPr>
            <a:lvl2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800" b="0" spc="50">
                <a:solidFill>
                  <a:schemeClr val="bg1"/>
                </a:solidFill>
                <a:latin typeface="DIF Stencil" pitchFamily="2" charset="0"/>
              </a:defRPr>
            </a:lvl2pPr>
            <a:lvl3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bg1"/>
                </a:solidFill>
                <a:latin typeface="+mn-lt"/>
              </a:defRPr>
            </a:lvl3pPr>
            <a:lvl4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bg1"/>
                </a:solidFill>
                <a:latin typeface="+mn-lt"/>
              </a:defRPr>
            </a:lvl4pPr>
            <a:lvl5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bg1"/>
                </a:solidFill>
                <a:latin typeface="+mn-lt"/>
              </a:defRPr>
            </a:lvl6pPr>
            <a:lvl7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bg1"/>
                </a:solidFill>
                <a:latin typeface="+mn-lt"/>
              </a:defRPr>
            </a:lvl7pPr>
            <a:lvl8pPr>
              <a:lnSpc>
                <a:spcPts val="3600"/>
              </a:lnSpc>
              <a:spcAft>
                <a:spcPts val="0"/>
              </a:spcAft>
              <a:defRPr sz="2400" b="0" spc="50">
                <a:solidFill>
                  <a:schemeClr val="bg1"/>
                </a:solidFill>
                <a:latin typeface="+mn-lt"/>
              </a:defRPr>
            </a:lvl8pPr>
            <a:lvl9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5BA0948-410E-40FE-9260-DF997FBB0D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02400" y="2903320"/>
            <a:ext cx="2520000" cy="529200"/>
          </a:xfrm>
        </p:spPr>
        <p:txBody>
          <a:bodyPr/>
          <a:lstStyle>
            <a:lvl1pPr marL="0" indent="0">
              <a:lnSpc>
                <a:spcPct val="95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cap="all" spc="5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1001C2D-E954-4ACE-B6A6-A283DCEF5B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32400" y="1602767"/>
            <a:ext cx="1456198" cy="1296000"/>
          </a:xfrm>
        </p:spPr>
        <p:txBody>
          <a:bodyPr/>
          <a:lstStyle>
            <a:lvl1pPr marL="0" indent="0">
              <a:lnSpc>
                <a:spcPct val="92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800" b="1" spc="50">
                <a:solidFill>
                  <a:schemeClr val="tx1"/>
                </a:solidFill>
                <a:latin typeface="DIF Stencil" pitchFamily="2" charset="0"/>
              </a:defRPr>
            </a:lvl1pPr>
            <a:lvl2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800" b="0" spc="50">
                <a:solidFill>
                  <a:schemeClr val="bg1"/>
                </a:solidFill>
                <a:latin typeface="DIF Stencil" pitchFamily="2" charset="0"/>
              </a:defRPr>
            </a:lvl2pPr>
            <a:lvl3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bg1"/>
                </a:solidFill>
                <a:latin typeface="+mn-lt"/>
              </a:defRPr>
            </a:lvl3pPr>
            <a:lvl4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bg1"/>
                </a:solidFill>
                <a:latin typeface="+mn-lt"/>
              </a:defRPr>
            </a:lvl4pPr>
            <a:lvl5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bg1"/>
                </a:solidFill>
                <a:latin typeface="+mn-lt"/>
              </a:defRPr>
            </a:lvl6pPr>
            <a:lvl7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bg1"/>
                </a:solidFill>
                <a:latin typeface="+mn-lt"/>
              </a:defRPr>
            </a:lvl7pPr>
            <a:lvl8pPr>
              <a:lnSpc>
                <a:spcPts val="3600"/>
              </a:lnSpc>
              <a:spcAft>
                <a:spcPts val="0"/>
              </a:spcAft>
              <a:defRPr sz="2400" b="0" spc="50">
                <a:solidFill>
                  <a:schemeClr val="bg1"/>
                </a:solidFill>
                <a:latin typeface="+mn-lt"/>
              </a:defRPr>
            </a:lvl8pPr>
            <a:lvl9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8968C09-87F8-4649-ABB7-CDE9F5F07F1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32400" y="2903320"/>
            <a:ext cx="2520000" cy="529200"/>
          </a:xfrm>
        </p:spPr>
        <p:txBody>
          <a:bodyPr/>
          <a:lstStyle>
            <a:lvl1pPr marL="0" indent="0">
              <a:lnSpc>
                <a:spcPct val="95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cap="all" spc="5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B123763-E87D-44C1-8379-FD74FA93BD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0000" y="3913199"/>
            <a:ext cx="1456198" cy="1296000"/>
          </a:xfrm>
        </p:spPr>
        <p:txBody>
          <a:bodyPr/>
          <a:lstStyle>
            <a:lvl1pPr marL="0" indent="0">
              <a:lnSpc>
                <a:spcPct val="92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800" b="1" spc="50">
                <a:solidFill>
                  <a:schemeClr val="tx1"/>
                </a:solidFill>
                <a:latin typeface="DIF Stencil" pitchFamily="2" charset="0"/>
              </a:defRPr>
            </a:lvl1pPr>
            <a:lvl2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800" b="0" spc="50">
                <a:solidFill>
                  <a:schemeClr val="bg1"/>
                </a:solidFill>
                <a:latin typeface="DIF Stencil" pitchFamily="2" charset="0"/>
              </a:defRPr>
            </a:lvl2pPr>
            <a:lvl3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bg1"/>
                </a:solidFill>
                <a:latin typeface="+mn-lt"/>
              </a:defRPr>
            </a:lvl3pPr>
            <a:lvl4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bg1"/>
                </a:solidFill>
                <a:latin typeface="+mn-lt"/>
              </a:defRPr>
            </a:lvl4pPr>
            <a:lvl5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bg1"/>
                </a:solidFill>
                <a:latin typeface="+mn-lt"/>
              </a:defRPr>
            </a:lvl6pPr>
            <a:lvl7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bg1"/>
                </a:solidFill>
                <a:latin typeface="+mn-lt"/>
              </a:defRPr>
            </a:lvl7pPr>
            <a:lvl8pPr>
              <a:lnSpc>
                <a:spcPts val="3600"/>
              </a:lnSpc>
              <a:spcAft>
                <a:spcPts val="0"/>
              </a:spcAft>
              <a:defRPr sz="2400" b="0" spc="50">
                <a:solidFill>
                  <a:schemeClr val="bg1"/>
                </a:solidFill>
                <a:latin typeface="+mn-lt"/>
              </a:defRPr>
            </a:lvl8pPr>
            <a:lvl9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66D198F-45ED-4D60-8EC0-52779FC456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5218120"/>
            <a:ext cx="2520000" cy="529200"/>
          </a:xfrm>
        </p:spPr>
        <p:txBody>
          <a:bodyPr/>
          <a:lstStyle>
            <a:lvl1pPr marL="0" indent="0">
              <a:lnSpc>
                <a:spcPct val="95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cap="all" spc="5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7341B12-280B-4F8B-ADED-DFCA7DCF8E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02400" y="3913199"/>
            <a:ext cx="1456198" cy="1296000"/>
          </a:xfrm>
        </p:spPr>
        <p:txBody>
          <a:bodyPr/>
          <a:lstStyle>
            <a:lvl1pPr marL="0" indent="0">
              <a:lnSpc>
                <a:spcPct val="92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800" b="1" spc="50">
                <a:solidFill>
                  <a:schemeClr val="tx1"/>
                </a:solidFill>
                <a:latin typeface="DIF Stencil" pitchFamily="2" charset="0"/>
              </a:defRPr>
            </a:lvl1pPr>
            <a:lvl2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800" b="0" spc="50">
                <a:solidFill>
                  <a:schemeClr val="bg1"/>
                </a:solidFill>
                <a:latin typeface="DIF Stencil" pitchFamily="2" charset="0"/>
              </a:defRPr>
            </a:lvl2pPr>
            <a:lvl3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bg1"/>
                </a:solidFill>
                <a:latin typeface="+mn-lt"/>
              </a:defRPr>
            </a:lvl3pPr>
            <a:lvl4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bg1"/>
                </a:solidFill>
                <a:latin typeface="+mn-lt"/>
              </a:defRPr>
            </a:lvl4pPr>
            <a:lvl5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bg1"/>
                </a:solidFill>
                <a:latin typeface="+mn-lt"/>
              </a:defRPr>
            </a:lvl6pPr>
            <a:lvl7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bg1"/>
                </a:solidFill>
                <a:latin typeface="+mn-lt"/>
              </a:defRPr>
            </a:lvl7pPr>
            <a:lvl8pPr>
              <a:lnSpc>
                <a:spcPts val="3600"/>
              </a:lnSpc>
              <a:spcAft>
                <a:spcPts val="0"/>
              </a:spcAft>
              <a:defRPr sz="2400" b="0" spc="50">
                <a:solidFill>
                  <a:schemeClr val="bg1"/>
                </a:solidFill>
                <a:latin typeface="+mn-lt"/>
              </a:defRPr>
            </a:lvl8pPr>
            <a:lvl9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6427E58-88D4-4535-B772-D67238FD42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02400" y="5218120"/>
            <a:ext cx="2520000" cy="529200"/>
          </a:xfrm>
        </p:spPr>
        <p:txBody>
          <a:bodyPr/>
          <a:lstStyle>
            <a:lvl1pPr marL="0" indent="0">
              <a:lnSpc>
                <a:spcPct val="95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cap="all" spc="5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339D8A6-EB60-4F0E-B23E-A3C6100FE8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32400" y="3913199"/>
            <a:ext cx="1456198" cy="1296000"/>
          </a:xfrm>
        </p:spPr>
        <p:txBody>
          <a:bodyPr/>
          <a:lstStyle>
            <a:lvl1pPr marL="0" indent="0">
              <a:lnSpc>
                <a:spcPct val="92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800" b="1" spc="50">
                <a:solidFill>
                  <a:schemeClr val="tx1"/>
                </a:solidFill>
                <a:latin typeface="DIF Stencil" pitchFamily="2" charset="0"/>
              </a:defRPr>
            </a:lvl1pPr>
            <a:lvl2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8800" b="0" spc="50">
                <a:solidFill>
                  <a:schemeClr val="bg1"/>
                </a:solidFill>
                <a:latin typeface="DIF Stencil" pitchFamily="2" charset="0"/>
              </a:defRPr>
            </a:lvl2pPr>
            <a:lvl3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bg1"/>
                </a:solidFill>
                <a:latin typeface="+mn-lt"/>
              </a:defRPr>
            </a:lvl3pPr>
            <a:lvl4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bg1"/>
                </a:solidFill>
                <a:latin typeface="+mn-lt"/>
              </a:defRPr>
            </a:lvl4pPr>
            <a:lvl5pPr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1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ts val="36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400" b="0" spc="50">
                <a:solidFill>
                  <a:schemeClr val="bg1"/>
                </a:solidFill>
                <a:latin typeface="+mn-lt"/>
              </a:defRPr>
            </a:lvl6pPr>
            <a:lvl7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bg1"/>
                </a:solidFill>
                <a:latin typeface="+mn-lt"/>
              </a:defRPr>
            </a:lvl7pPr>
            <a:lvl8pPr>
              <a:lnSpc>
                <a:spcPts val="3600"/>
              </a:lnSpc>
              <a:spcAft>
                <a:spcPts val="0"/>
              </a:spcAft>
              <a:defRPr sz="2400" b="0" spc="50">
                <a:solidFill>
                  <a:schemeClr val="bg1"/>
                </a:solidFill>
                <a:latin typeface="+mn-lt"/>
              </a:defRPr>
            </a:lvl8pPr>
            <a:lvl9pPr>
              <a:lnSpc>
                <a:spcPts val="3600"/>
              </a:lnSpc>
              <a:spcAft>
                <a:spcPts val="0"/>
              </a:spcAft>
              <a:defRPr sz="2400" b="1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dirty="0"/>
              <a:t>6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1C26ED-5AF4-4C7C-B8C3-8ED1F9A1392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32400" y="5218120"/>
            <a:ext cx="2520000" cy="529200"/>
          </a:xfrm>
        </p:spPr>
        <p:txBody>
          <a:bodyPr/>
          <a:lstStyle>
            <a:lvl1pPr marL="0" indent="0">
              <a:lnSpc>
                <a:spcPct val="95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cap="all" spc="5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C6D2415-26CB-F127-3E60-1BBD43B5AA1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5" name="Pladsholder til tekst 5">
            <a:extLst>
              <a:ext uri="{FF2B5EF4-FFF2-40B4-BE49-F238E27FC236}">
                <a16:creationId xmlns:a16="http://schemas.microsoft.com/office/drawing/2014/main" id="{79246408-8F02-AAFC-784C-5858361F9B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77562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">
    <p:bg>
      <p:bgPr>
        <a:gradFill>
          <a:gsLst>
            <a:gs pos="0">
              <a:srgbClr val="249446"/>
            </a:gs>
            <a:gs pos="100000">
              <a:srgbClr val="00451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lede 21" descr="Et billede, der indeholder linje/række, design, kunst&#10;&#10;Automatisk genereret beskrivelse">
            <a:extLst>
              <a:ext uri="{FF2B5EF4-FFF2-40B4-BE49-F238E27FC236}">
                <a16:creationId xmlns:a16="http://schemas.microsoft.com/office/drawing/2014/main" id="{E8E2373D-66E5-8C0F-E5E3-242873145B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481"/>
          <a:stretch/>
        </p:blipFill>
        <p:spPr>
          <a:xfrm>
            <a:off x="5318125" y="0"/>
            <a:ext cx="6873875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F65F358-3D0B-4C30-94C6-9BC8E1B3EA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40000"/>
            <a:ext cx="7646738" cy="93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agenda tit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708149"/>
            <a:ext cx="7646738" cy="3889376"/>
          </a:xfrm>
        </p:spPr>
        <p:txBody>
          <a:bodyPr/>
          <a:lstStyle>
            <a:lvl1pPr marL="0" indent="0">
              <a:lnSpc>
                <a:spcPct val="95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cap="all" spc="5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96E1D93-10AC-2709-DD2C-9A03C0438E4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5" name="Pladsholder til tekst 5">
            <a:extLst>
              <a:ext uri="{FF2B5EF4-FFF2-40B4-BE49-F238E27FC236}">
                <a16:creationId xmlns:a16="http://schemas.microsoft.com/office/drawing/2014/main" id="{46366CF3-B035-B9A4-8749-CE09F70BB1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46027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C">
    <p:bg>
      <p:bgPr>
        <a:gradFill>
          <a:gsLst>
            <a:gs pos="0">
              <a:srgbClr val="249446"/>
            </a:gs>
            <a:gs pos="100000">
              <a:srgbClr val="00451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lede 21" descr="Et billede, der indeholder linje/række, design, kunst&#10;&#10;Automatisk genereret beskrivelse">
            <a:extLst>
              <a:ext uri="{FF2B5EF4-FFF2-40B4-BE49-F238E27FC236}">
                <a16:creationId xmlns:a16="http://schemas.microsoft.com/office/drawing/2014/main" id="{E8E2373D-66E5-8C0F-E5E3-242873145B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481"/>
          <a:stretch/>
        </p:blipFill>
        <p:spPr>
          <a:xfrm>
            <a:off x="5318125" y="0"/>
            <a:ext cx="6873875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F65F358-3D0B-4C30-94C6-9BC8E1B3EA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40000"/>
            <a:ext cx="7646738" cy="93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agenda tit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708149"/>
            <a:ext cx="7646738" cy="3720247"/>
          </a:xfrm>
        </p:spPr>
        <p:txBody>
          <a:bodyPr/>
          <a:lstStyle>
            <a:lvl1pPr marL="0" indent="0">
              <a:lnSpc>
                <a:spcPct val="95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cap="all" spc="5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b="1" cap="all" spc="5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96E1D93-10AC-2709-DD2C-9A03C0438E4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2" name="Pladsholder til tekst 5">
            <a:extLst>
              <a:ext uri="{FF2B5EF4-FFF2-40B4-BE49-F238E27FC236}">
                <a16:creationId xmlns:a16="http://schemas.microsoft.com/office/drawing/2014/main" id="{2EB18420-CE25-ADC3-C5BC-773FF76841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05855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7DFC7C93-7E46-80B5-B3CC-AC03B8BBB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3194"/>
            <a:ext cx="12192000" cy="533399"/>
          </a:xfrm>
          <a:prstGeom prst="rect">
            <a:avLst/>
          </a:prstGeom>
        </p:spPr>
      </p:pic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FAC78685-2AE8-4790-9E15-2028753F5FF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8E82E86-3436-4ED0-B14D-99DD61DDFAA3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8" name="Footer Placeholder 8" hidden="1">
            <a:extLst>
              <a:ext uri="{FF2B5EF4-FFF2-40B4-BE49-F238E27FC236}">
                <a16:creationId xmlns:a16="http://schemas.microsoft.com/office/drawing/2014/main" id="{B6981A3E-B3C5-4F78-81B7-270B06EFC9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8735CF21-6327-43B3-A6B4-E856B24D6FD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455FAF9-D3FC-48DE-9385-1EADF32999D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4014" t="28202"/>
          <a:stretch/>
        </p:blipFill>
        <p:spPr>
          <a:xfrm flipH="1" flipV="1">
            <a:off x="6518258" y="2112006"/>
            <a:ext cx="5673742" cy="4745994"/>
          </a:xfrm>
          <a:custGeom>
            <a:avLst/>
            <a:gdLst>
              <a:gd name="connsiteX0" fmla="*/ 5673742 w 5673742"/>
              <a:gd name="connsiteY0" fmla="*/ 4745994 h 4745994"/>
              <a:gd name="connsiteX1" fmla="*/ 0 w 5673742"/>
              <a:gd name="connsiteY1" fmla="*/ 4745994 h 4745994"/>
              <a:gd name="connsiteX2" fmla="*/ 0 w 5673742"/>
              <a:gd name="connsiteY2" fmla="*/ 0 h 4745994"/>
              <a:gd name="connsiteX3" fmla="*/ 5673742 w 5673742"/>
              <a:gd name="connsiteY3" fmla="*/ 0 h 4745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3742" h="4745994">
                <a:moveTo>
                  <a:pt x="5673742" y="4745994"/>
                </a:moveTo>
                <a:lnTo>
                  <a:pt x="0" y="4745994"/>
                </a:lnTo>
                <a:lnTo>
                  <a:pt x="0" y="0"/>
                </a:lnTo>
                <a:lnTo>
                  <a:pt x="5673742" y="0"/>
                </a:lnTo>
                <a:close/>
              </a:path>
            </a:pathLst>
          </a:cu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A3BE882-6FAA-43C7-B586-D842F5AF355E}"/>
              </a:ext>
            </a:extLst>
          </p:cNvPr>
          <p:cNvSpPr>
            <a:spLocks noGrp="1"/>
          </p:cNvSpPr>
          <p:nvPr>
            <p:ph idx="4294967295" hasCustomPrompt="1"/>
          </p:nvPr>
        </p:nvSpPr>
        <p:spPr>
          <a:xfrm>
            <a:off x="875211" y="1347787"/>
            <a:ext cx="6746875" cy="4249738"/>
          </a:xfrm>
          <a:solidFill>
            <a:schemeClr val="bg1"/>
          </a:solidFill>
          <a:effectLst>
            <a:outerShdw blurRad="317500" sx="107000" sy="107000" algn="ctr" rotWithShape="0">
              <a:prstClr val="black">
                <a:alpha val="25000"/>
              </a:prstClr>
            </a:outerShdw>
          </a:effectLst>
        </p:spPr>
        <p:txBody>
          <a:bodyPr wrap="square" lIns="576000" tIns="1440000" rIns="540000" bIns="540000">
            <a:noAutofit/>
          </a:bodyPr>
          <a:lstStyle>
            <a:lvl9pPr>
              <a:defRPr/>
            </a:lvl9pPr>
          </a:lstStyle>
          <a:p>
            <a:pPr lvl="8">
              <a:lnSpc>
                <a:spcPct val="95000"/>
              </a:lnSpc>
              <a:spcAft>
                <a:spcPts val="1200"/>
              </a:spcAft>
            </a:pPr>
            <a:r>
              <a:rPr lang="da-DK" sz="2400" cap="none" dirty="0">
                <a:latin typeface="+mj-lt"/>
              </a:rPr>
              <a:t>Klik for at tilføje element eller teks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513439CE-A962-4093-9A87-81ADBCA6725B}"/>
              </a:ext>
            </a:extLst>
          </p:cNvPr>
          <p:cNvSpPr txBox="1">
            <a:spLocks/>
          </p:cNvSpPr>
          <p:nvPr userDrawn="1"/>
        </p:nvSpPr>
        <p:spPr>
          <a:xfrm>
            <a:off x="1370999" y="1976466"/>
            <a:ext cx="900000" cy="360000"/>
          </a:xfrm>
          <a:prstGeom prst="roundRect">
            <a:avLst>
              <a:gd name="adj" fmla="val 50000"/>
            </a:avLst>
          </a:prstGeom>
          <a:solidFill>
            <a:srgbClr val="186A32"/>
          </a:solidFill>
          <a:ln>
            <a:noFill/>
          </a:ln>
        </p:spPr>
        <p:txBody>
          <a:bodyPr vert="horz" lIns="126000" tIns="0" rIns="126000" bIns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2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2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2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2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800" b="1" kern="1200" cap="all" spc="5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2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92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2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b="1" kern="1200" cap="all" spc="5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2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400" kern="1200" cap="all" baseline="0">
                <a:solidFill>
                  <a:schemeClr val="accent2"/>
                </a:solidFill>
                <a:latin typeface="DIF" pitchFamily="2" charset="0"/>
                <a:ea typeface="+mn-ea"/>
                <a:cs typeface="+mn-cs"/>
              </a:defRPr>
            </a:lvl9pPr>
          </a:lstStyle>
          <a:p>
            <a:pPr lvl="6" algn="ctr">
              <a:lnSpc>
                <a:spcPct val="93000"/>
              </a:lnSpc>
            </a:pPr>
            <a:r>
              <a:rPr lang="da-DK" sz="900" cap="none" dirty="0">
                <a:solidFill>
                  <a:schemeClr val="bg1"/>
                </a:solidFill>
                <a:latin typeface="DIF Semibold" pitchFamily="2" charset="0"/>
              </a:rPr>
              <a:t>Tilføj tekst</a:t>
            </a:r>
          </a:p>
        </p:txBody>
      </p:sp>
      <p:sp>
        <p:nvSpPr>
          <p:cNvPr id="3" name="Pladsholder til billede 21">
            <a:extLst>
              <a:ext uri="{FF2B5EF4-FFF2-40B4-BE49-F238E27FC236}">
                <a16:creationId xmlns:a16="http://schemas.microsoft.com/office/drawing/2014/main" id="{4D654D3F-D8B2-2C08-6DDE-C88AE41426A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098088" y="488149"/>
            <a:ext cx="1598399" cy="1078921"/>
          </a:xfrm>
          <a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22921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ange ord">
    <p:bg>
      <p:bgPr>
        <a:solidFill>
          <a:srgbClr val="186A32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EC4984FD-C954-4704-8EAD-D63D90C9952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302B38-8D6F-4F5F-AE29-1DFC99A11AD9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E9C8E5B9-7CE0-43DA-AD39-74ECF3AC70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DA38F4F7-EE53-4B48-8A78-570C0E7100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0361D43-02E0-4B57-9772-3C57C05D23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t="20626" b="9662"/>
          <a:stretch/>
        </p:blipFill>
        <p:spPr>
          <a:xfrm flipH="1">
            <a:off x="53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34000" y="2524125"/>
            <a:ext cx="9921600" cy="1317215"/>
          </a:xfrm>
          <a:ln>
            <a:noFill/>
          </a:ln>
        </p:spPr>
        <p:txBody>
          <a:bodyPr anchor="b" anchorCtr="0"/>
          <a:lstStyle>
            <a:lvl1pPr algn="l">
              <a:lnSpc>
                <a:spcPct val="60000"/>
              </a:lnSpc>
              <a:defRPr sz="8000">
                <a:ln w="12700">
                  <a:solidFill>
                    <a:srgbClr val="186A32"/>
                  </a:solidFill>
                </a:ln>
                <a:noFill/>
                <a:latin typeface="DIF Stencil" pitchFamily="2" charset="0"/>
              </a:defRPr>
            </a:lvl1pPr>
          </a:lstStyle>
          <a:p>
            <a:r>
              <a:rPr lang="da-DK" dirty="0"/>
              <a:t>tilføje tekst 1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05AE8B6-0EE6-4EDB-9683-119BCD826D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32163" y="3720300"/>
            <a:ext cx="9921600" cy="861774"/>
          </a:xfrm>
          <a:ln>
            <a:noFill/>
          </a:ln>
        </p:spPr>
        <p:txBody>
          <a:bodyPr>
            <a:noAutofit/>
          </a:bodyPr>
          <a:lstStyle>
            <a:lvl1pPr marL="0" indent="0" algn="r">
              <a:lnSpc>
                <a:spcPct val="6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da-DK" sz="8000" b="1" kern="1200" cap="all" spc="50" baseline="0" dirty="0">
                <a:ln w="12700">
                  <a:solidFill>
                    <a:srgbClr val="186A32"/>
                  </a:solidFill>
                </a:ln>
                <a:noFill/>
                <a:latin typeface="DIF Stencil" pitchFamily="2" charset="0"/>
                <a:ea typeface="+mj-ea"/>
                <a:cs typeface="+mj-cs"/>
              </a:defRPr>
            </a:lvl1pPr>
            <a:lvl2pPr marL="0" indent="0" algn="l">
              <a:buFont typeface="Arial" panose="020B0604020202020204" pitchFamily="34" charset="0"/>
              <a:buChar char="​"/>
              <a:defRPr sz="1800" b="0"/>
            </a:lvl2pPr>
            <a:lvl3pPr marL="0" indent="0" algn="l">
              <a:buFont typeface="Arial" panose="020B0604020202020204" pitchFamily="34" charset="0"/>
              <a:buChar char="​"/>
              <a:defRPr sz="1800" b="0"/>
            </a:lvl3pPr>
            <a:lvl4pPr marL="0" indent="0" algn="l">
              <a:buFont typeface="Arial" panose="020B0604020202020204" pitchFamily="34" charset="0"/>
              <a:buChar char="​"/>
              <a:defRPr sz="1800" b="0"/>
            </a:lvl4pPr>
            <a:lvl5pPr marL="0" indent="0" algn="l">
              <a:buFont typeface="Arial" panose="020B0604020202020204" pitchFamily="34" charset="0"/>
              <a:buChar char="​"/>
              <a:defRPr sz="1800" b="0"/>
            </a:lvl5pPr>
            <a:lvl6pPr marL="0" indent="0" algn="l">
              <a:buFont typeface="Arial" panose="020B0604020202020204" pitchFamily="34" charset="0"/>
              <a:buChar char="​"/>
              <a:defRPr sz="1800" b="0"/>
            </a:lvl6pPr>
            <a:lvl7pPr marL="0" indent="0" algn="l">
              <a:buFont typeface="Arial" panose="020B0604020202020204" pitchFamily="34" charset="0"/>
              <a:buChar char="​"/>
              <a:defRPr sz="1800" b="0"/>
            </a:lvl7pPr>
            <a:lvl8pPr marL="0" indent="0" algn="l">
              <a:buFont typeface="Arial" panose="020B0604020202020204" pitchFamily="34" charset="0"/>
              <a:buChar char="​"/>
              <a:defRPr sz="1800" b="0"/>
            </a:lvl8pPr>
            <a:lvl9pPr marL="0" indent="0" algn="l">
              <a:buFont typeface="Arial" panose="020B0604020202020204" pitchFamily="34" charset="0"/>
              <a:buChar char="​"/>
              <a:defRPr sz="1800" b="0"/>
            </a:lvl9pPr>
          </a:lstStyle>
          <a:p>
            <a:r>
              <a:rPr lang="da-DK" dirty="0"/>
              <a:t>tilføje tekst 2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354F288-4873-69AE-077E-6E226B58E44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4" name="Pladsholder til tekst 5">
            <a:extLst>
              <a:ext uri="{FF2B5EF4-FFF2-40B4-BE49-F238E27FC236}">
                <a16:creationId xmlns:a16="http://schemas.microsoft.com/office/drawing/2014/main" id="{48AB020A-1362-1A8A-2F65-DFEC0C34AF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1382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reaker lange ord">
    <p:bg>
      <p:bgPr>
        <a:solidFill>
          <a:srgbClr val="186A32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EC4984FD-C954-4704-8EAD-D63D90C9952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302B38-8D6F-4F5F-AE29-1DFC99A11AD9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E9C8E5B9-7CE0-43DA-AD39-74ECF3AC70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DA38F4F7-EE53-4B48-8A78-570C0E7100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0361D43-02E0-4B57-9772-3C57C05D23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t="20626" b="9662"/>
          <a:stretch/>
        </p:blipFill>
        <p:spPr>
          <a:xfrm flipH="1">
            <a:off x="53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1587" y="2524125"/>
            <a:ext cx="11110663" cy="1317215"/>
          </a:xfrm>
          <a:ln>
            <a:noFill/>
          </a:ln>
        </p:spPr>
        <p:txBody>
          <a:bodyPr anchor="b" anchorCtr="0"/>
          <a:lstStyle>
            <a:lvl1pPr algn="l">
              <a:lnSpc>
                <a:spcPct val="60000"/>
              </a:lnSpc>
              <a:defRPr sz="8000">
                <a:ln w="12700">
                  <a:solidFill>
                    <a:srgbClr val="186A32"/>
                  </a:solidFill>
                </a:ln>
                <a:noFill/>
                <a:latin typeface="DIF Stencil" pitchFamily="2" charset="0"/>
              </a:defRPr>
            </a:lvl1pPr>
          </a:lstStyle>
          <a:p>
            <a:r>
              <a:rPr lang="da-DK" dirty="0"/>
              <a:t>startblokk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05AE8B6-0EE6-4EDB-9683-119BCD826D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50" y="3720300"/>
            <a:ext cx="11110663" cy="861774"/>
          </a:xfrm>
          <a:ln>
            <a:noFill/>
          </a:ln>
        </p:spPr>
        <p:txBody>
          <a:bodyPr>
            <a:noAutofit/>
          </a:bodyPr>
          <a:lstStyle>
            <a:lvl1pPr marL="0" indent="0" algn="r">
              <a:lnSpc>
                <a:spcPct val="6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da-DK" sz="8000" b="1" kern="1200" cap="all" spc="50" baseline="0" dirty="0">
                <a:ln w="12700">
                  <a:solidFill>
                    <a:srgbClr val="186A32"/>
                  </a:solidFill>
                </a:ln>
                <a:noFill/>
                <a:latin typeface="DIF Stencil" pitchFamily="2" charset="0"/>
                <a:ea typeface="+mj-ea"/>
                <a:cs typeface="+mj-cs"/>
              </a:defRPr>
            </a:lvl1pPr>
            <a:lvl2pPr marL="0" indent="0" algn="l">
              <a:buFont typeface="Arial" panose="020B0604020202020204" pitchFamily="34" charset="0"/>
              <a:buChar char="​"/>
              <a:defRPr sz="1800" b="0"/>
            </a:lvl2pPr>
            <a:lvl3pPr marL="0" indent="0" algn="l">
              <a:buFont typeface="Arial" panose="020B0604020202020204" pitchFamily="34" charset="0"/>
              <a:buChar char="​"/>
              <a:defRPr sz="1800" b="0"/>
            </a:lvl3pPr>
            <a:lvl4pPr marL="0" indent="0" algn="l">
              <a:buFont typeface="Arial" panose="020B0604020202020204" pitchFamily="34" charset="0"/>
              <a:buChar char="​"/>
              <a:defRPr sz="1800" b="0"/>
            </a:lvl4pPr>
            <a:lvl5pPr marL="0" indent="0" algn="l">
              <a:buFont typeface="Arial" panose="020B0604020202020204" pitchFamily="34" charset="0"/>
              <a:buChar char="​"/>
              <a:defRPr sz="1800" b="0"/>
            </a:lvl5pPr>
            <a:lvl6pPr marL="0" indent="0" algn="l">
              <a:buFont typeface="Arial" panose="020B0604020202020204" pitchFamily="34" charset="0"/>
              <a:buChar char="​"/>
              <a:defRPr sz="1800" b="0"/>
            </a:lvl6pPr>
            <a:lvl7pPr marL="0" indent="0" algn="l">
              <a:buFont typeface="Arial" panose="020B0604020202020204" pitchFamily="34" charset="0"/>
              <a:buChar char="​"/>
              <a:defRPr sz="1800" b="0"/>
            </a:lvl7pPr>
            <a:lvl8pPr marL="0" indent="0" algn="l">
              <a:buFont typeface="Arial" panose="020B0604020202020204" pitchFamily="34" charset="0"/>
              <a:buChar char="​"/>
              <a:defRPr sz="1800" b="0"/>
            </a:lvl8pPr>
            <a:lvl9pPr marL="0" indent="0" algn="l">
              <a:buFont typeface="Arial" panose="020B0604020202020204" pitchFamily="34" charset="0"/>
              <a:buChar char="​"/>
              <a:defRPr sz="1800" b="0"/>
            </a:lvl9pPr>
          </a:lstStyle>
          <a:p>
            <a:r>
              <a:rPr lang="da-DK" dirty="0"/>
              <a:t>er finansieret af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354F288-4873-69AE-077E-6E226B58E44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4" name="Pladsholder til tekst 5">
            <a:extLst>
              <a:ext uri="{FF2B5EF4-FFF2-40B4-BE49-F238E27FC236}">
                <a16:creationId xmlns:a16="http://schemas.microsoft.com/office/drawing/2014/main" id="{3FBB5DC2-E51C-952D-3854-336E30C024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19888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lange or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F444D1BC-EC08-D095-7AC9-6FC72FB43C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3194"/>
            <a:ext cx="12192000" cy="533399"/>
          </a:xfrm>
          <a:prstGeom prst="rect">
            <a:avLst/>
          </a:prstGeom>
        </p:spPr>
      </p:pic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EC4984FD-C954-4704-8EAD-D63D90C9952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302B38-8D6F-4F5F-AE29-1DFC99A11AD9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E9C8E5B9-7CE0-43DA-AD39-74ECF3AC70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DA38F4F7-EE53-4B48-8A78-570C0E7100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0361D43-02E0-4B57-9772-3C57C05D23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626" b="9662"/>
          <a:stretch/>
        </p:blipFill>
        <p:spPr>
          <a:xfrm flipH="1">
            <a:off x="53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34000" y="2524125"/>
            <a:ext cx="9921600" cy="1317215"/>
          </a:xfrm>
        </p:spPr>
        <p:txBody>
          <a:bodyPr anchor="b" anchorCtr="0"/>
          <a:lstStyle>
            <a:lvl1pPr algn="l">
              <a:lnSpc>
                <a:spcPct val="60000"/>
              </a:lnSpc>
              <a:defRPr sz="8000">
                <a:ln w="12700">
                  <a:solidFill>
                    <a:srgbClr val="186A32"/>
                  </a:solidFill>
                </a:ln>
                <a:noFill/>
                <a:latin typeface="DIF Stencil" pitchFamily="2" charset="0"/>
              </a:defRPr>
            </a:lvl1pPr>
          </a:lstStyle>
          <a:p>
            <a:r>
              <a:rPr lang="da-DK" dirty="0"/>
              <a:t>tilføje tekst 1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05AE8B6-0EE6-4EDB-9683-119BCD826D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32163" y="3720300"/>
            <a:ext cx="9921600" cy="861774"/>
          </a:xfrm>
        </p:spPr>
        <p:txBody>
          <a:bodyPr>
            <a:noAutofit/>
          </a:bodyPr>
          <a:lstStyle>
            <a:lvl1pPr marL="0" indent="0" algn="r">
              <a:lnSpc>
                <a:spcPct val="6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da-DK" sz="8000" b="1" kern="1200" cap="all" spc="50" baseline="0" dirty="0">
                <a:ln w="12700">
                  <a:solidFill>
                    <a:srgbClr val="186A32"/>
                  </a:solidFill>
                </a:ln>
                <a:noFill/>
                <a:latin typeface="DIF Stencil" pitchFamily="2" charset="0"/>
                <a:ea typeface="+mj-ea"/>
                <a:cs typeface="+mj-cs"/>
              </a:defRPr>
            </a:lvl1pPr>
            <a:lvl2pPr marL="0" indent="0" algn="l">
              <a:buFont typeface="Arial" panose="020B0604020202020204" pitchFamily="34" charset="0"/>
              <a:buChar char="​"/>
              <a:defRPr sz="1800" b="0"/>
            </a:lvl2pPr>
            <a:lvl3pPr marL="0" indent="0" algn="l">
              <a:buFont typeface="Arial" panose="020B0604020202020204" pitchFamily="34" charset="0"/>
              <a:buChar char="​"/>
              <a:defRPr sz="1800" b="0"/>
            </a:lvl3pPr>
            <a:lvl4pPr marL="0" indent="0" algn="l">
              <a:buFont typeface="Arial" panose="020B0604020202020204" pitchFamily="34" charset="0"/>
              <a:buChar char="​"/>
              <a:defRPr sz="1800" b="0"/>
            </a:lvl4pPr>
            <a:lvl5pPr marL="0" indent="0" algn="l">
              <a:buFont typeface="Arial" panose="020B0604020202020204" pitchFamily="34" charset="0"/>
              <a:buChar char="​"/>
              <a:defRPr sz="1800" b="0"/>
            </a:lvl5pPr>
            <a:lvl6pPr marL="0" indent="0" algn="l">
              <a:buFont typeface="Arial" panose="020B0604020202020204" pitchFamily="34" charset="0"/>
              <a:buChar char="​"/>
              <a:defRPr sz="1800" b="0"/>
            </a:lvl6pPr>
            <a:lvl7pPr marL="0" indent="0" algn="l">
              <a:buFont typeface="Arial" panose="020B0604020202020204" pitchFamily="34" charset="0"/>
              <a:buChar char="​"/>
              <a:defRPr sz="1800" b="0"/>
            </a:lvl7pPr>
            <a:lvl8pPr marL="0" indent="0" algn="l">
              <a:buFont typeface="Arial" panose="020B0604020202020204" pitchFamily="34" charset="0"/>
              <a:buChar char="​"/>
              <a:defRPr sz="1800" b="0"/>
            </a:lvl8pPr>
            <a:lvl9pPr marL="0" indent="0" algn="l">
              <a:buFont typeface="Arial" panose="020B0604020202020204" pitchFamily="34" charset="0"/>
              <a:buChar char="​"/>
              <a:defRPr sz="1800" b="0"/>
            </a:lvl9pPr>
          </a:lstStyle>
          <a:p>
            <a:r>
              <a:rPr lang="da-DK" dirty="0"/>
              <a:t>tilføje tekst 2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E111CE4-73BE-2639-F147-41266B97CAD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281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FAC78685-2AE8-4790-9E15-2028753F5FF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8E82E86-3436-4ED0-B14D-99DD61DDFAA3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8" name="Footer Placeholder 8" hidden="1">
            <a:extLst>
              <a:ext uri="{FF2B5EF4-FFF2-40B4-BE49-F238E27FC236}">
                <a16:creationId xmlns:a16="http://schemas.microsoft.com/office/drawing/2014/main" id="{B6981A3E-B3C5-4F78-81B7-270B06EFC9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8735CF21-6327-43B3-A6B4-E856B24D6FD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1710000"/>
            <a:ext cx="7286400" cy="3168000"/>
          </a:xfrm>
        </p:spPr>
        <p:txBody>
          <a:bodyPr anchor="t" anchorCtr="0"/>
          <a:lstStyle>
            <a:lvl1pPr algn="l">
              <a:defRPr sz="5400">
                <a:solidFill>
                  <a:srgbClr val="186A32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9749" y="558000"/>
            <a:ext cx="7286400" cy="3204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 b="0">
                <a:solidFill>
                  <a:srgbClr val="186A32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1800" b="0"/>
            </a:lvl2pPr>
            <a:lvl3pPr marL="0" indent="0" algn="l">
              <a:buFont typeface="Arial" panose="020B0604020202020204" pitchFamily="34" charset="0"/>
              <a:buChar char="​"/>
              <a:defRPr sz="1800" b="0"/>
            </a:lvl3pPr>
            <a:lvl4pPr marL="0" indent="0" algn="l">
              <a:buFont typeface="Arial" panose="020B0604020202020204" pitchFamily="34" charset="0"/>
              <a:buChar char="​"/>
              <a:defRPr sz="1800" b="0"/>
            </a:lvl4pPr>
            <a:lvl5pPr marL="0" indent="0" algn="l">
              <a:buFont typeface="Arial" panose="020B0604020202020204" pitchFamily="34" charset="0"/>
              <a:buChar char="​"/>
              <a:defRPr sz="1800" b="0"/>
            </a:lvl5pPr>
            <a:lvl6pPr marL="0" indent="0" algn="l">
              <a:buFont typeface="Arial" panose="020B0604020202020204" pitchFamily="34" charset="0"/>
              <a:buChar char="​"/>
              <a:defRPr sz="1800" b="0"/>
            </a:lvl6pPr>
            <a:lvl7pPr marL="0" indent="0" algn="l">
              <a:buFont typeface="Arial" panose="020B0604020202020204" pitchFamily="34" charset="0"/>
              <a:buChar char="​"/>
              <a:defRPr sz="1800" b="0"/>
            </a:lvl7pPr>
            <a:lvl8pPr marL="0" indent="0" algn="l">
              <a:buFont typeface="Arial" panose="020B0604020202020204" pitchFamily="34" charset="0"/>
              <a:buChar char="​"/>
              <a:defRPr sz="1800" b="0"/>
            </a:lvl8pPr>
            <a:lvl9pPr marL="0" indent="0" algn="l">
              <a:buFont typeface="Arial" panose="020B0604020202020204" pitchFamily="34" charset="0"/>
              <a:buChar char="​"/>
              <a:defRPr sz="1800" b="0"/>
            </a:lvl9pPr>
          </a:lstStyle>
          <a:p>
            <a:r>
              <a:rPr lang="da-DK" dirty="0"/>
              <a:t>Klik for at tilføje undertitel</a:t>
            </a:r>
          </a:p>
        </p:txBody>
      </p:sp>
      <p:sp>
        <p:nvSpPr>
          <p:cNvPr id="27" name="Pladsholder til billede 21">
            <a:extLst>
              <a:ext uri="{FF2B5EF4-FFF2-40B4-BE49-F238E27FC236}">
                <a16:creationId xmlns:a16="http://schemas.microsoft.com/office/drawing/2014/main" id="{D99B6A6B-F04C-BFC7-75F3-0D615503ADB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098088" y="488149"/>
            <a:ext cx="1598399" cy="1078921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5022C67C-8C94-7C00-FCF2-FD76FB01FC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3194"/>
            <a:ext cx="12192000" cy="533399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A455FAF9-D3FC-48DE-9385-1EADF32999D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4014" t="28202"/>
          <a:stretch/>
        </p:blipFill>
        <p:spPr>
          <a:xfrm flipH="1" flipV="1">
            <a:off x="6518258" y="2112006"/>
            <a:ext cx="5673742" cy="4745994"/>
          </a:xfrm>
          <a:custGeom>
            <a:avLst/>
            <a:gdLst>
              <a:gd name="connsiteX0" fmla="*/ 5673742 w 5673742"/>
              <a:gd name="connsiteY0" fmla="*/ 4745994 h 4745994"/>
              <a:gd name="connsiteX1" fmla="*/ 0 w 5673742"/>
              <a:gd name="connsiteY1" fmla="*/ 4745994 h 4745994"/>
              <a:gd name="connsiteX2" fmla="*/ 0 w 5673742"/>
              <a:gd name="connsiteY2" fmla="*/ 0 h 4745994"/>
              <a:gd name="connsiteX3" fmla="*/ 5673742 w 5673742"/>
              <a:gd name="connsiteY3" fmla="*/ 0 h 4745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3742" h="4745994">
                <a:moveTo>
                  <a:pt x="5673742" y="4745994"/>
                </a:moveTo>
                <a:lnTo>
                  <a:pt x="0" y="4745994"/>
                </a:lnTo>
                <a:lnTo>
                  <a:pt x="0" y="0"/>
                </a:lnTo>
                <a:lnTo>
                  <a:pt x="5673742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386648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eaker lange or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144FE4E4-15D0-0F31-1A64-38957BC87A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3194"/>
            <a:ext cx="12192000" cy="533399"/>
          </a:xfrm>
          <a:prstGeom prst="rect">
            <a:avLst/>
          </a:prstGeom>
        </p:spPr>
      </p:pic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EC4984FD-C954-4704-8EAD-D63D90C9952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302B38-8D6F-4F5F-AE29-1DFC99A11AD9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E9C8E5B9-7CE0-43DA-AD39-74ECF3AC70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DA38F4F7-EE53-4B48-8A78-570C0E7100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0361D43-02E0-4B57-9772-3C57C05D23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626" b="9662"/>
          <a:stretch/>
        </p:blipFill>
        <p:spPr>
          <a:xfrm flipH="1">
            <a:off x="53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1587" y="2524125"/>
            <a:ext cx="11110663" cy="1317215"/>
          </a:xfrm>
        </p:spPr>
        <p:txBody>
          <a:bodyPr anchor="b" anchorCtr="0"/>
          <a:lstStyle>
            <a:lvl1pPr algn="l">
              <a:lnSpc>
                <a:spcPct val="60000"/>
              </a:lnSpc>
              <a:defRPr sz="8000">
                <a:ln w="12700">
                  <a:solidFill>
                    <a:srgbClr val="186A32"/>
                  </a:solidFill>
                </a:ln>
                <a:noFill/>
                <a:latin typeface="DIF Stencil" pitchFamily="2" charset="0"/>
              </a:defRPr>
            </a:lvl1pPr>
          </a:lstStyle>
          <a:p>
            <a:r>
              <a:rPr lang="da-DK" dirty="0"/>
              <a:t>startblokk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05AE8B6-0EE6-4EDB-9683-119BCD826D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50" y="3720300"/>
            <a:ext cx="11110663" cy="861774"/>
          </a:xfrm>
        </p:spPr>
        <p:txBody>
          <a:bodyPr>
            <a:noAutofit/>
          </a:bodyPr>
          <a:lstStyle>
            <a:lvl1pPr marL="0" indent="0" algn="r">
              <a:lnSpc>
                <a:spcPct val="6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da-DK" sz="8000" b="1" kern="1200" cap="all" spc="50" baseline="0" dirty="0">
                <a:ln w="12700">
                  <a:solidFill>
                    <a:srgbClr val="186A32"/>
                  </a:solidFill>
                </a:ln>
                <a:noFill/>
                <a:latin typeface="DIF Stencil" pitchFamily="2" charset="0"/>
                <a:ea typeface="+mj-ea"/>
                <a:cs typeface="+mj-cs"/>
              </a:defRPr>
            </a:lvl1pPr>
            <a:lvl2pPr marL="0" indent="0" algn="l">
              <a:buFont typeface="Arial" panose="020B0604020202020204" pitchFamily="34" charset="0"/>
              <a:buChar char="​"/>
              <a:defRPr sz="1800" b="0"/>
            </a:lvl2pPr>
            <a:lvl3pPr marL="0" indent="0" algn="l">
              <a:buFont typeface="Arial" panose="020B0604020202020204" pitchFamily="34" charset="0"/>
              <a:buChar char="​"/>
              <a:defRPr sz="1800" b="0"/>
            </a:lvl3pPr>
            <a:lvl4pPr marL="0" indent="0" algn="l">
              <a:buFont typeface="Arial" panose="020B0604020202020204" pitchFamily="34" charset="0"/>
              <a:buChar char="​"/>
              <a:defRPr sz="1800" b="0"/>
            </a:lvl4pPr>
            <a:lvl5pPr marL="0" indent="0" algn="l">
              <a:buFont typeface="Arial" panose="020B0604020202020204" pitchFamily="34" charset="0"/>
              <a:buChar char="​"/>
              <a:defRPr sz="1800" b="0"/>
            </a:lvl5pPr>
            <a:lvl6pPr marL="0" indent="0" algn="l">
              <a:buFont typeface="Arial" panose="020B0604020202020204" pitchFamily="34" charset="0"/>
              <a:buChar char="​"/>
              <a:defRPr sz="1800" b="0"/>
            </a:lvl6pPr>
            <a:lvl7pPr marL="0" indent="0" algn="l">
              <a:buFont typeface="Arial" panose="020B0604020202020204" pitchFamily="34" charset="0"/>
              <a:buChar char="​"/>
              <a:defRPr sz="1800" b="0"/>
            </a:lvl7pPr>
            <a:lvl8pPr marL="0" indent="0" algn="l">
              <a:buFont typeface="Arial" panose="020B0604020202020204" pitchFamily="34" charset="0"/>
              <a:buChar char="​"/>
              <a:defRPr sz="1800" b="0"/>
            </a:lvl8pPr>
            <a:lvl9pPr marL="0" indent="0" algn="l">
              <a:buFont typeface="Arial" panose="020B0604020202020204" pitchFamily="34" charset="0"/>
              <a:buChar char="​"/>
              <a:defRPr sz="1800" b="0"/>
            </a:lvl9pPr>
          </a:lstStyle>
          <a:p>
            <a:r>
              <a:rPr lang="da-DK" dirty="0"/>
              <a:t>er finansieret af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E111CE4-73BE-2639-F147-41266B97CAD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100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korte ord">
    <p:bg>
      <p:bgPr>
        <a:solidFill>
          <a:srgbClr val="186A32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EC4984FD-C954-4704-8EAD-D63D90C9952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B4DAE74-BC5E-4067-97A0-3A2C4322717E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E9C8E5B9-7CE0-43DA-AD39-74ECF3AC70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DA38F4F7-EE53-4B48-8A78-570C0E7100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0361D43-02E0-4B57-9772-3C57C05D23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t="20626" b="9662"/>
          <a:stretch/>
        </p:blipFill>
        <p:spPr>
          <a:xfrm flipH="1">
            <a:off x="53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49512" y="2524125"/>
            <a:ext cx="6692901" cy="1317215"/>
          </a:xfrm>
        </p:spPr>
        <p:txBody>
          <a:bodyPr anchor="b" anchorCtr="0"/>
          <a:lstStyle>
            <a:lvl1pPr algn="l">
              <a:lnSpc>
                <a:spcPct val="60000"/>
              </a:lnSpc>
              <a:defRPr sz="8000">
                <a:ln w="12700">
                  <a:solidFill>
                    <a:srgbClr val="186A32"/>
                  </a:solidFill>
                </a:ln>
                <a:noFill/>
                <a:latin typeface="DIF Stencil" pitchFamily="2" charset="0"/>
              </a:defRPr>
            </a:lvl1pPr>
          </a:lstStyle>
          <a:p>
            <a:r>
              <a:rPr lang="da-DK" dirty="0"/>
              <a:t>tekst 1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05AE8B6-0EE6-4EDB-9683-119BCD826D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47675" y="3720300"/>
            <a:ext cx="6692901" cy="861774"/>
          </a:xfrm>
        </p:spPr>
        <p:txBody>
          <a:bodyPr>
            <a:noAutofit/>
          </a:bodyPr>
          <a:lstStyle>
            <a:lvl1pPr marL="0" indent="0" algn="r">
              <a:lnSpc>
                <a:spcPct val="6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da-DK" sz="8000" b="1" kern="1200" cap="all" spc="50" baseline="0" dirty="0">
                <a:ln w="12700">
                  <a:solidFill>
                    <a:srgbClr val="186A32"/>
                  </a:solidFill>
                </a:ln>
                <a:noFill/>
                <a:latin typeface="DIF Stencil" pitchFamily="2" charset="0"/>
                <a:ea typeface="+mj-ea"/>
                <a:cs typeface="+mj-cs"/>
              </a:defRPr>
            </a:lvl1pPr>
            <a:lvl2pPr marL="0" indent="0" algn="l">
              <a:buFont typeface="Arial" panose="020B0604020202020204" pitchFamily="34" charset="0"/>
              <a:buChar char="​"/>
              <a:defRPr sz="1800" b="0"/>
            </a:lvl2pPr>
            <a:lvl3pPr marL="0" indent="0" algn="l">
              <a:buFont typeface="Arial" panose="020B0604020202020204" pitchFamily="34" charset="0"/>
              <a:buChar char="​"/>
              <a:defRPr sz="1800" b="0"/>
            </a:lvl3pPr>
            <a:lvl4pPr marL="0" indent="0" algn="l">
              <a:buFont typeface="Arial" panose="020B0604020202020204" pitchFamily="34" charset="0"/>
              <a:buChar char="​"/>
              <a:defRPr sz="1800" b="0"/>
            </a:lvl4pPr>
            <a:lvl5pPr marL="0" indent="0" algn="l">
              <a:buFont typeface="Arial" panose="020B0604020202020204" pitchFamily="34" charset="0"/>
              <a:buChar char="​"/>
              <a:defRPr sz="1800" b="0"/>
            </a:lvl5pPr>
            <a:lvl6pPr marL="0" indent="0" algn="l">
              <a:buFont typeface="Arial" panose="020B0604020202020204" pitchFamily="34" charset="0"/>
              <a:buChar char="​"/>
              <a:defRPr sz="1800" b="0"/>
            </a:lvl6pPr>
            <a:lvl7pPr marL="0" indent="0" algn="l">
              <a:buFont typeface="Arial" panose="020B0604020202020204" pitchFamily="34" charset="0"/>
              <a:buChar char="​"/>
              <a:defRPr sz="1800" b="0"/>
            </a:lvl7pPr>
            <a:lvl8pPr marL="0" indent="0" algn="l">
              <a:buFont typeface="Arial" panose="020B0604020202020204" pitchFamily="34" charset="0"/>
              <a:buChar char="​"/>
              <a:defRPr sz="1800" b="0"/>
            </a:lvl8pPr>
            <a:lvl9pPr marL="0" indent="0" algn="l">
              <a:buFont typeface="Arial" panose="020B0604020202020204" pitchFamily="34" charset="0"/>
              <a:buChar char="​"/>
              <a:defRPr sz="1800" b="0"/>
            </a:lvl9pPr>
          </a:lstStyle>
          <a:p>
            <a:r>
              <a:rPr lang="da-DK" dirty="0"/>
              <a:t>tekst 2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47AFAFB-9025-E54C-FE79-8BC072B5268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4" name="Pladsholder til tekst 5">
            <a:extLst>
              <a:ext uri="{FF2B5EF4-FFF2-40B4-BE49-F238E27FC236}">
                <a16:creationId xmlns:a16="http://schemas.microsoft.com/office/drawing/2014/main" id="{A6C49F6F-65BB-5EB9-71BA-E316FF7520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5443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 korte or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F0310AC4-71DA-94CD-A082-A717C5AD4C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3194"/>
            <a:ext cx="12192000" cy="533399"/>
          </a:xfrm>
          <a:prstGeom prst="rect">
            <a:avLst/>
          </a:prstGeom>
        </p:spPr>
      </p:pic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EC4984FD-C954-4704-8EAD-D63D90C9952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B4DAE74-BC5E-4067-97A0-3A2C4322717E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E9C8E5B9-7CE0-43DA-AD39-74ECF3AC70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DA38F4F7-EE53-4B48-8A78-570C0E7100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0361D43-02E0-4B57-9772-3C57C05D23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626" b="9662"/>
          <a:stretch/>
        </p:blipFill>
        <p:spPr>
          <a:xfrm flipH="1">
            <a:off x="53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49512" y="2524125"/>
            <a:ext cx="6692901" cy="1317215"/>
          </a:xfrm>
        </p:spPr>
        <p:txBody>
          <a:bodyPr anchor="b" anchorCtr="0"/>
          <a:lstStyle>
            <a:lvl1pPr algn="l">
              <a:lnSpc>
                <a:spcPct val="60000"/>
              </a:lnSpc>
              <a:defRPr sz="8000">
                <a:ln w="12700">
                  <a:solidFill>
                    <a:srgbClr val="186A32"/>
                  </a:solidFill>
                </a:ln>
                <a:noFill/>
                <a:latin typeface="DIF Stencil" pitchFamily="2" charset="0"/>
              </a:defRPr>
            </a:lvl1pPr>
          </a:lstStyle>
          <a:p>
            <a:r>
              <a:rPr lang="da-DK" dirty="0"/>
              <a:t>tekst 1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05AE8B6-0EE6-4EDB-9683-119BCD826D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47675" y="3720300"/>
            <a:ext cx="6692901" cy="861774"/>
          </a:xfrm>
        </p:spPr>
        <p:txBody>
          <a:bodyPr>
            <a:noAutofit/>
          </a:bodyPr>
          <a:lstStyle>
            <a:lvl1pPr marL="0" indent="0" algn="r">
              <a:lnSpc>
                <a:spcPct val="6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da-DK" sz="8000" b="1" kern="1200" cap="all" spc="50" baseline="0" dirty="0">
                <a:ln w="12700">
                  <a:solidFill>
                    <a:srgbClr val="186A32"/>
                  </a:solidFill>
                </a:ln>
                <a:noFill/>
                <a:latin typeface="DIF Stencil" pitchFamily="2" charset="0"/>
                <a:ea typeface="+mj-ea"/>
                <a:cs typeface="+mj-cs"/>
              </a:defRPr>
            </a:lvl1pPr>
            <a:lvl2pPr marL="0" indent="0" algn="l">
              <a:buFont typeface="Arial" panose="020B0604020202020204" pitchFamily="34" charset="0"/>
              <a:buChar char="​"/>
              <a:defRPr sz="1800" b="0"/>
            </a:lvl2pPr>
            <a:lvl3pPr marL="0" indent="0" algn="l">
              <a:buFont typeface="Arial" panose="020B0604020202020204" pitchFamily="34" charset="0"/>
              <a:buChar char="​"/>
              <a:defRPr sz="1800" b="0"/>
            </a:lvl3pPr>
            <a:lvl4pPr marL="0" indent="0" algn="l">
              <a:buFont typeface="Arial" panose="020B0604020202020204" pitchFamily="34" charset="0"/>
              <a:buChar char="​"/>
              <a:defRPr sz="1800" b="0"/>
            </a:lvl4pPr>
            <a:lvl5pPr marL="0" indent="0" algn="l">
              <a:buFont typeface="Arial" panose="020B0604020202020204" pitchFamily="34" charset="0"/>
              <a:buChar char="​"/>
              <a:defRPr sz="1800" b="0"/>
            </a:lvl5pPr>
            <a:lvl6pPr marL="0" indent="0" algn="l">
              <a:buFont typeface="Arial" panose="020B0604020202020204" pitchFamily="34" charset="0"/>
              <a:buChar char="​"/>
              <a:defRPr sz="1800" b="0"/>
            </a:lvl6pPr>
            <a:lvl7pPr marL="0" indent="0" algn="l">
              <a:buFont typeface="Arial" panose="020B0604020202020204" pitchFamily="34" charset="0"/>
              <a:buChar char="​"/>
              <a:defRPr sz="1800" b="0"/>
            </a:lvl7pPr>
            <a:lvl8pPr marL="0" indent="0" algn="l">
              <a:buFont typeface="Arial" panose="020B0604020202020204" pitchFamily="34" charset="0"/>
              <a:buChar char="​"/>
              <a:defRPr sz="1800" b="0"/>
            </a:lvl8pPr>
            <a:lvl9pPr marL="0" indent="0" algn="l">
              <a:buFont typeface="Arial" panose="020B0604020202020204" pitchFamily="34" charset="0"/>
              <a:buChar char="​"/>
              <a:defRPr sz="1800" b="0"/>
            </a:lvl9pPr>
          </a:lstStyle>
          <a:p>
            <a:r>
              <a:rPr lang="da-DK" dirty="0"/>
              <a:t>tekst 2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3F00518-B299-BC5B-590B-F9DD637563B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40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653A3ADA-5C3D-44CA-B837-98B5C4F0FB4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-1"/>
            <a:ext cx="12193200" cy="6861600"/>
          </a:xfrm>
          <a:solidFill>
            <a:schemeClr val="accent3"/>
          </a:solidFill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da-DK" dirty="0"/>
              <a:t>Klik på rammen for at Indsæt billede via Templafy fan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4C25CC2-0492-4F6E-AB5C-C792BED19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1269000"/>
            <a:ext cx="6328800" cy="4320000"/>
          </a:xfrm>
          <a:solidFill>
            <a:schemeClr val="bg1">
              <a:alpha val="90000"/>
            </a:schemeClr>
          </a:solidFill>
          <a:effectLst>
            <a:outerShdw blurRad="317500" sx="107000" sy="107000" algn="ctr" rotWithShape="0">
              <a:schemeClr val="tx1">
                <a:alpha val="25000"/>
              </a:schemeClr>
            </a:outerShdw>
          </a:effectLst>
        </p:spPr>
        <p:txBody>
          <a:bodyPr lIns="486000" tIns="486000" rIns="486000" bIns="1080000" anchor="b" anchorCtr="0"/>
          <a:lstStyle>
            <a:lvl1pPr algn="l">
              <a:lnSpc>
                <a:spcPct val="95000"/>
              </a:lnSpc>
              <a:defRPr sz="2400" cap="none" spc="0" baseline="0"/>
            </a:lvl1pPr>
          </a:lstStyle>
          <a:p>
            <a:r>
              <a:rPr lang="da-DK" dirty="0"/>
              <a:t>Klik for at tilføje citat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EF9DA3B-6C07-4D20-9D18-5EBAE81B36F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4760385"/>
            <a:ext cx="6328800" cy="180000"/>
          </a:xfrm>
        </p:spPr>
        <p:txBody>
          <a:bodyPr lIns="486000" rIns="48600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 cap="none" baseline="0">
                <a:latin typeface="DIF Semibold" pitchFamily="2" charset="0"/>
              </a:defRPr>
            </a:lvl1pPr>
            <a:lvl2pPr marL="0" indent="0" algn="l">
              <a:buFont typeface="Arial" panose="020B0604020202020204" pitchFamily="34" charset="0"/>
              <a:buChar char="​"/>
              <a:defRPr sz="1600" b="0"/>
            </a:lvl2pPr>
            <a:lvl3pPr marL="0" indent="0" algn="l">
              <a:buFont typeface="Arial" panose="020B0604020202020204" pitchFamily="34" charset="0"/>
              <a:buChar char="​"/>
              <a:defRPr sz="1600" b="0"/>
            </a:lvl3pPr>
            <a:lvl4pPr marL="0" indent="0" algn="l">
              <a:buFont typeface="Arial" panose="020B0604020202020204" pitchFamily="34" charset="0"/>
              <a:buChar char="​"/>
              <a:defRPr sz="1600" b="0"/>
            </a:lvl4pPr>
            <a:lvl5pPr marL="0" indent="0" algn="l">
              <a:buFont typeface="Arial" panose="020B0604020202020204" pitchFamily="34" charset="0"/>
              <a:buChar char="​"/>
              <a:defRPr sz="1600" b="0"/>
            </a:lvl5pPr>
            <a:lvl6pPr marL="0" indent="0" algn="l">
              <a:buFont typeface="Arial" panose="020B0604020202020204" pitchFamily="34" charset="0"/>
              <a:buChar char="​"/>
              <a:defRPr sz="1600" b="0"/>
            </a:lvl6pPr>
            <a:lvl7pPr marL="0" indent="0" algn="l">
              <a:buFont typeface="Arial" panose="020B0604020202020204" pitchFamily="34" charset="0"/>
              <a:buChar char="​"/>
              <a:defRPr sz="1600" b="0"/>
            </a:lvl7pPr>
            <a:lvl8pPr marL="0" indent="0" algn="l">
              <a:buFont typeface="Arial" panose="020B0604020202020204" pitchFamily="34" charset="0"/>
              <a:buChar char="​"/>
              <a:defRPr sz="1600" b="0"/>
            </a:lvl8pPr>
            <a:lvl9pPr marL="0" indent="0" algn="l">
              <a:buFont typeface="Arial" panose="020B0604020202020204" pitchFamily="34" charset="0"/>
              <a:buChar char="​"/>
              <a:defRPr sz="1600" b="0"/>
            </a:lvl9pPr>
          </a:lstStyle>
          <a:p>
            <a:r>
              <a:rPr lang="da-DK" dirty="0"/>
              <a:t>Klik for at tilføje nav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B41F867-A690-419C-9AA0-2FE3EA5A17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0000" y="4931630"/>
            <a:ext cx="6328800" cy="180000"/>
          </a:xfrm>
        </p:spPr>
        <p:txBody>
          <a:bodyPr lIns="486000" rIns="486000"/>
          <a:lstStyle>
            <a:lvl1pPr marL="0" indent="0">
              <a:buNone/>
              <a:defRPr lang="en-US" sz="12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9" name="Citat tegn Placeholder">
            <a:extLst>
              <a:ext uri="{FF2B5EF4-FFF2-40B4-BE49-F238E27FC236}">
                <a16:creationId xmlns:a16="http://schemas.microsoft.com/office/drawing/2014/main" id="{E28F4FA0-FEB7-4ACF-99A5-5E88FDD6047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31856" y="1794249"/>
            <a:ext cx="338400" cy="277200"/>
          </a:xfrm>
          <a:blipFill dpi="0" rotWithShape="1"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rcRect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rgbClr val="186A32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4" name="Pladsholder til billede 21">
            <a:extLst>
              <a:ext uri="{FF2B5EF4-FFF2-40B4-BE49-F238E27FC236}">
                <a16:creationId xmlns:a16="http://schemas.microsoft.com/office/drawing/2014/main" id="{4E025044-DABF-0677-FD95-7A17E85062D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098088" y="488149"/>
            <a:ext cx="1598399" cy="1078921"/>
          </a:xfr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E174F344-BB5E-97A5-8227-5ADE55C399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62823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">
    <p:bg>
      <p:bgPr>
        <a:solidFill>
          <a:srgbClr val="186A32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0361D43-02E0-4B57-9772-3C57C05D236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t="20626" b="9662"/>
          <a:stretch/>
        </p:blipFill>
        <p:spPr>
          <a:xfrm flipH="1">
            <a:off x="53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45584919-69F2-4D3A-BEC0-9871BBB2276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1279781"/>
            <a:ext cx="6328800" cy="4320000"/>
          </a:xfrm>
          <a:solidFill>
            <a:schemeClr val="bg1">
              <a:alpha val="90000"/>
            </a:schemeClr>
          </a:solidFill>
          <a:effectLst>
            <a:outerShdw blurRad="317500" sx="107000" sy="107000" algn="ctr" rotWithShape="0">
              <a:schemeClr val="tx1">
                <a:alpha val="25000"/>
              </a:schemeClr>
            </a:outerShdw>
          </a:effectLst>
        </p:spPr>
        <p:txBody>
          <a:bodyPr lIns="486000" tIns="486000" rIns="486000" bIns="1080000" anchor="b" anchorCtr="0"/>
          <a:lstStyle>
            <a:lvl1pPr algn="l">
              <a:lnSpc>
                <a:spcPct val="95000"/>
              </a:lnSpc>
              <a:defRPr sz="2400" cap="none" spc="0" baseline="0"/>
            </a:lvl1pPr>
          </a:lstStyle>
          <a:p>
            <a:r>
              <a:rPr lang="da-DK" dirty="0"/>
              <a:t>Klik for at tilføje citat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56A2AD3-509C-4E2F-B00A-CC05FE439A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4771166"/>
            <a:ext cx="6328800" cy="180000"/>
          </a:xfrm>
        </p:spPr>
        <p:txBody>
          <a:bodyPr lIns="486000" rIns="48600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 cap="none" baseline="0">
                <a:latin typeface="DIF Semibold" pitchFamily="2" charset="0"/>
              </a:defRPr>
            </a:lvl1pPr>
            <a:lvl2pPr marL="0" indent="0" algn="l">
              <a:buFont typeface="Arial" panose="020B0604020202020204" pitchFamily="34" charset="0"/>
              <a:buChar char="​"/>
              <a:defRPr sz="1600" b="0"/>
            </a:lvl2pPr>
            <a:lvl3pPr marL="0" indent="0" algn="l">
              <a:buFont typeface="Arial" panose="020B0604020202020204" pitchFamily="34" charset="0"/>
              <a:buChar char="​"/>
              <a:defRPr sz="1600" b="0"/>
            </a:lvl3pPr>
            <a:lvl4pPr marL="0" indent="0" algn="l">
              <a:buFont typeface="Arial" panose="020B0604020202020204" pitchFamily="34" charset="0"/>
              <a:buChar char="​"/>
              <a:defRPr sz="1600" b="0"/>
            </a:lvl4pPr>
            <a:lvl5pPr marL="0" indent="0" algn="l">
              <a:buFont typeface="Arial" panose="020B0604020202020204" pitchFamily="34" charset="0"/>
              <a:buChar char="​"/>
              <a:defRPr sz="1600" b="0"/>
            </a:lvl5pPr>
            <a:lvl6pPr marL="0" indent="0" algn="l">
              <a:buFont typeface="Arial" panose="020B0604020202020204" pitchFamily="34" charset="0"/>
              <a:buChar char="​"/>
              <a:defRPr sz="1600" b="0"/>
            </a:lvl6pPr>
            <a:lvl7pPr marL="0" indent="0" algn="l">
              <a:buFont typeface="Arial" panose="020B0604020202020204" pitchFamily="34" charset="0"/>
              <a:buChar char="​"/>
              <a:defRPr sz="1600" b="0"/>
            </a:lvl7pPr>
            <a:lvl8pPr marL="0" indent="0" algn="l">
              <a:buFont typeface="Arial" panose="020B0604020202020204" pitchFamily="34" charset="0"/>
              <a:buChar char="​"/>
              <a:defRPr sz="1600" b="0"/>
            </a:lvl8pPr>
            <a:lvl9pPr marL="0" indent="0" algn="l">
              <a:buFont typeface="Arial" panose="020B0604020202020204" pitchFamily="34" charset="0"/>
              <a:buChar char="​"/>
              <a:defRPr sz="1600" b="0"/>
            </a:lvl9pPr>
          </a:lstStyle>
          <a:p>
            <a:r>
              <a:rPr lang="da-DK" dirty="0"/>
              <a:t>Klik for at tilføje nav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E7A052F-D16E-4FCB-92E2-CA1BC17B34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0000" y="4942411"/>
            <a:ext cx="6328800" cy="180000"/>
          </a:xfrm>
        </p:spPr>
        <p:txBody>
          <a:bodyPr lIns="486000" rIns="486000"/>
          <a:lstStyle>
            <a:lvl1pPr marL="0" indent="0">
              <a:buNone/>
              <a:defRPr lang="en-US" sz="12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9" name="Citat tegn Placeholder">
            <a:extLst>
              <a:ext uri="{FF2B5EF4-FFF2-40B4-BE49-F238E27FC236}">
                <a16:creationId xmlns:a16="http://schemas.microsoft.com/office/drawing/2014/main" id="{67487C0F-D3C4-42F6-9FE7-8061FC9E1D9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31856" y="1805030"/>
            <a:ext cx="338400" cy="277200"/>
          </a:xfr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noProof="0" dirty="0"/>
              <a:t>.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8CB807-63EB-3D7C-2C43-D1E0415BBB5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4" name="Pladsholder til tekst 5">
            <a:extLst>
              <a:ext uri="{FF2B5EF4-FFF2-40B4-BE49-F238E27FC236}">
                <a16:creationId xmlns:a16="http://schemas.microsoft.com/office/drawing/2014/main" id="{C3E909F0-200A-BE94-B0E8-9BA79715384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7771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t bille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653A3ADA-5C3D-44CA-B837-98B5C4F0FB4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-1"/>
            <a:ext cx="12193200" cy="6861600"/>
          </a:xfrm>
          <a:solidFill>
            <a:schemeClr val="accent3"/>
          </a:solidFill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da-DK" dirty="0"/>
              <a:t>Klik på rammen for at Indsæt billede via Templafy fan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4C25CC2-0492-4F6E-AB5C-C792BED19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03200" y="540000"/>
            <a:ext cx="3150000" cy="3780000"/>
          </a:xfrm>
          <a:solidFill>
            <a:schemeClr val="bg1">
              <a:alpha val="90000"/>
            </a:schemeClr>
          </a:solidFill>
          <a:effectLst>
            <a:outerShdw blurRad="317500" sx="107000" sy="107000" algn="ctr" rotWithShape="0">
              <a:schemeClr val="tx1">
                <a:alpha val="25000"/>
              </a:schemeClr>
            </a:outerShdw>
          </a:effectLst>
        </p:spPr>
        <p:txBody>
          <a:bodyPr lIns="432000" tIns="432000" rIns="432000" bIns="432000" anchor="t" anchorCtr="0"/>
          <a:lstStyle>
            <a:lvl1pPr algn="l">
              <a:lnSpc>
                <a:spcPct val="95000"/>
              </a:lnSpc>
              <a:defRPr sz="2800" cap="none" spc="0" baseline="0"/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B41F867-A690-419C-9AA0-2FE3EA5A17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0000" y="540000"/>
            <a:ext cx="1551600" cy="5050095"/>
          </a:xfrm>
        </p:spPr>
        <p:txBody>
          <a:bodyPr lIns="0" rIns="0" anchor="b" anchorCtr="0"/>
          <a:lstStyle>
            <a:lvl1pPr marL="0" indent="0">
              <a:buNone/>
              <a:defRPr lang="en-US" sz="1200" b="0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a-DK" dirty="0"/>
              <a:t>Klik for at tilføje tekst</a:t>
            </a:r>
          </a:p>
        </p:txBody>
      </p:sp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131030BC-E88B-F2AF-CCDC-2C3514CACF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181895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t bille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653A3ADA-5C3D-44CA-B837-98B5C4F0FB4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-1"/>
            <a:ext cx="12193200" cy="6861600"/>
          </a:xfrm>
          <a:solidFill>
            <a:schemeClr val="accent3"/>
          </a:solidFill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da-DK" dirty="0"/>
              <a:t>Klik på rammen for at Indsæt billede via Templafy fan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4C25CC2-0492-4F6E-AB5C-C792BED19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2910881"/>
            <a:ext cx="4417200" cy="2635940"/>
          </a:xfrm>
          <a:noFill/>
          <a:effectLst/>
        </p:spPr>
        <p:txBody>
          <a:bodyPr lIns="0" tIns="0" rIns="0" bIns="0" anchor="b" anchorCtr="0"/>
          <a:lstStyle>
            <a:lvl1pPr algn="l">
              <a:lnSpc>
                <a:spcPct val="90000"/>
              </a:lnSpc>
              <a:defRPr sz="5400" cap="all" spc="5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6D65527F-9DFE-7FBE-95BA-7BB860B650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935425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lsidet bille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5">
            <a:extLst>
              <a:ext uri="{FF2B5EF4-FFF2-40B4-BE49-F238E27FC236}">
                <a16:creationId xmlns:a16="http://schemas.microsoft.com/office/drawing/2014/main" id="{50E3F54D-3C2E-7939-CF0C-0E4BE8A053E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t="20626" b="9662"/>
          <a:stretch/>
        </p:blipFill>
        <p:spPr>
          <a:xfrm flipH="1">
            <a:off x="53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653A3ADA-5C3D-44CA-B837-98B5C4F0FB4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3716338"/>
            <a:ext cx="12193200" cy="3145260"/>
          </a:xfrm>
          <a:solidFill>
            <a:schemeClr val="accent3"/>
          </a:solidFill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da-DK" dirty="0"/>
              <a:t>Klik på rammen for at Indsæt billede via Templafy fan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4C25CC2-0492-4F6E-AB5C-C792BED19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1273846"/>
            <a:ext cx="11113199" cy="1295655"/>
          </a:xfrm>
          <a:noFill/>
          <a:effectLst/>
        </p:spPr>
        <p:txBody>
          <a:bodyPr lIns="0" tIns="0" rIns="0" bIns="0" anchor="b" anchorCtr="0"/>
          <a:lstStyle>
            <a:lvl1pPr algn="l">
              <a:lnSpc>
                <a:spcPct val="90000"/>
              </a:lnSpc>
              <a:defRPr sz="5400" cap="all" spc="50" baseline="0">
                <a:solidFill>
                  <a:srgbClr val="186A32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DDB4E0B-CA3C-9A31-49F9-6BFDD02BAB0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78C9B471-187C-FA72-0417-8CE30E7D8A6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48407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og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 hidden="1">
            <a:extLst>
              <a:ext uri="{FF2B5EF4-FFF2-40B4-BE49-F238E27FC236}">
                <a16:creationId xmlns:a16="http://schemas.microsoft.com/office/drawing/2014/main" id="{467E647A-C53A-4CCC-8DA3-CCE393A500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40651048-6628-44DD-ACEE-BF5C3110B86B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6D462532-5399-4BA5-823B-1C78385B87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71F59926-907E-449A-A6AE-E759A85F986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t="20626" b="9662"/>
          <a:stretch/>
        </p:blipFill>
        <p:spPr>
          <a:xfrm>
            <a:off x="53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653A3ADA-5C3D-44CA-B837-98B5C4F0FB4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-1"/>
            <a:ext cx="7560000" cy="6861600"/>
          </a:xfrm>
          <a:solidFill>
            <a:schemeClr val="accent3"/>
          </a:solidFill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da-DK" dirty="0"/>
              <a:t>Klik på rammen for at Indsæt billede via Templafy fan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4C25CC2-0492-4F6E-AB5C-C792BED19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86400" y="540000"/>
            <a:ext cx="3466800" cy="5057525"/>
          </a:xfrm>
          <a:noFill/>
          <a:effectLst/>
        </p:spPr>
        <p:txBody>
          <a:bodyPr lIns="0" tIns="0" rIns="0" bIns="0" anchor="b" anchorCtr="0"/>
          <a:lstStyle>
            <a:lvl1pPr algn="r">
              <a:lnSpc>
                <a:spcPct val="90000"/>
              </a:lnSpc>
              <a:defRPr sz="4000" cap="all" spc="50" baseline="0">
                <a:solidFill>
                  <a:srgbClr val="186A32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33373AD-8059-A1CC-4D2E-43B5257D9CC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25C3D812-3090-2C5C-B06C-BE5B5BDC22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84139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D6C70-5F51-4B56-B9D6-2161E2F13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999" y="1710000"/>
            <a:ext cx="11113200" cy="38875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4119500-372B-BF50-27AF-55D7A7CC2B7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5" name="Pladsholder til tekst 5">
            <a:extLst>
              <a:ext uri="{FF2B5EF4-FFF2-40B4-BE49-F238E27FC236}">
                <a16:creationId xmlns:a16="http://schemas.microsoft.com/office/drawing/2014/main" id="{AD0A02D2-DC1B-15C7-48E8-58BBEDAF1E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FAC78685-2AE8-4790-9E15-2028753F5FF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8E82E86-3436-4ED0-B14D-99DD61DDFAA3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8" name="Footer Placeholder 8" hidden="1">
            <a:extLst>
              <a:ext uri="{FF2B5EF4-FFF2-40B4-BE49-F238E27FC236}">
                <a16:creationId xmlns:a16="http://schemas.microsoft.com/office/drawing/2014/main" id="{B6981A3E-B3C5-4F78-81B7-270B06EFC9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8735CF21-6327-43B3-A6B4-E856B24D6FD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1710000"/>
            <a:ext cx="7286400" cy="3168000"/>
          </a:xfrm>
        </p:spPr>
        <p:txBody>
          <a:bodyPr anchor="t" anchorCtr="0"/>
          <a:lstStyle>
            <a:lvl1pPr algn="l">
              <a:defRPr sz="5400">
                <a:solidFill>
                  <a:srgbClr val="186A32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9749" y="558000"/>
            <a:ext cx="7286400" cy="3204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 b="0">
                <a:solidFill>
                  <a:srgbClr val="186A32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1800" b="0"/>
            </a:lvl2pPr>
            <a:lvl3pPr marL="0" indent="0" algn="l">
              <a:buFont typeface="Arial" panose="020B0604020202020204" pitchFamily="34" charset="0"/>
              <a:buChar char="​"/>
              <a:defRPr sz="1800" b="0"/>
            </a:lvl3pPr>
            <a:lvl4pPr marL="0" indent="0" algn="l">
              <a:buFont typeface="Arial" panose="020B0604020202020204" pitchFamily="34" charset="0"/>
              <a:buChar char="​"/>
              <a:defRPr sz="1800" b="0"/>
            </a:lvl4pPr>
            <a:lvl5pPr marL="0" indent="0" algn="l">
              <a:buFont typeface="Arial" panose="020B0604020202020204" pitchFamily="34" charset="0"/>
              <a:buChar char="​"/>
              <a:defRPr sz="1800" b="0"/>
            </a:lvl5pPr>
            <a:lvl6pPr marL="0" indent="0" algn="l">
              <a:buFont typeface="Arial" panose="020B0604020202020204" pitchFamily="34" charset="0"/>
              <a:buChar char="​"/>
              <a:defRPr sz="1800" b="0"/>
            </a:lvl6pPr>
            <a:lvl7pPr marL="0" indent="0" algn="l">
              <a:buFont typeface="Arial" panose="020B0604020202020204" pitchFamily="34" charset="0"/>
              <a:buChar char="​"/>
              <a:defRPr sz="1800" b="0"/>
            </a:lvl7pPr>
            <a:lvl8pPr marL="0" indent="0" algn="l">
              <a:buFont typeface="Arial" panose="020B0604020202020204" pitchFamily="34" charset="0"/>
              <a:buChar char="​"/>
              <a:defRPr sz="1800" b="0"/>
            </a:lvl8pPr>
            <a:lvl9pPr marL="0" indent="0" algn="l">
              <a:buFont typeface="Arial" panose="020B0604020202020204" pitchFamily="34" charset="0"/>
              <a:buChar char="​"/>
              <a:defRPr sz="1800" b="0"/>
            </a:lvl9pPr>
          </a:lstStyle>
          <a:p>
            <a:r>
              <a:rPr lang="da-DK" dirty="0"/>
              <a:t>Klik for at tilføje undertitel</a:t>
            </a:r>
          </a:p>
        </p:txBody>
      </p:sp>
      <p:sp>
        <p:nvSpPr>
          <p:cNvPr id="27" name="Pladsholder til billede 21">
            <a:extLst>
              <a:ext uri="{FF2B5EF4-FFF2-40B4-BE49-F238E27FC236}">
                <a16:creationId xmlns:a16="http://schemas.microsoft.com/office/drawing/2014/main" id="{D99B6A6B-F04C-BFC7-75F3-0D615503ADB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098088" y="488149"/>
            <a:ext cx="1598399" cy="1078921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E067EC0-20AF-8F8B-569E-370360F18F2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3194"/>
            <a:ext cx="12192000" cy="533399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A455FAF9-D3FC-48DE-9385-1EADF32999D5}"/>
              </a:ext>
            </a:extLst>
          </p:cNvPr>
          <p:cNvPicPr>
            <a:picLocks noChangeAspect="1"/>
          </p:cNvPicPr>
          <p:nvPr userDrawn="1"/>
        </p:nvPicPr>
        <p:blipFill>
          <a:blip>
            <a:alphaModFix amt="32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4014" t="28202"/>
          <a:stretch/>
        </p:blipFill>
        <p:spPr>
          <a:xfrm flipH="1" flipV="1">
            <a:off x="6518258" y="2112006"/>
            <a:ext cx="5673742" cy="4745994"/>
          </a:xfrm>
          <a:custGeom>
            <a:avLst/>
            <a:gdLst>
              <a:gd name="connsiteX0" fmla="*/ 5673742 w 5673742"/>
              <a:gd name="connsiteY0" fmla="*/ 4745994 h 4745994"/>
              <a:gd name="connsiteX1" fmla="*/ 0 w 5673742"/>
              <a:gd name="connsiteY1" fmla="*/ 4745994 h 4745994"/>
              <a:gd name="connsiteX2" fmla="*/ 0 w 5673742"/>
              <a:gd name="connsiteY2" fmla="*/ 0 h 4745994"/>
              <a:gd name="connsiteX3" fmla="*/ 5673742 w 5673742"/>
              <a:gd name="connsiteY3" fmla="*/ 0 h 4745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3742" h="4745994">
                <a:moveTo>
                  <a:pt x="5673742" y="4745994"/>
                </a:moveTo>
                <a:lnTo>
                  <a:pt x="0" y="4745994"/>
                </a:lnTo>
                <a:lnTo>
                  <a:pt x="0" y="0"/>
                </a:lnTo>
                <a:lnTo>
                  <a:pt x="5673742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243770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baggrund">
    <p:bg>
      <p:bgPr>
        <a:solidFill>
          <a:srgbClr val="186A32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D6C70-5F51-4B56-B9D6-2161E2F13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999" y="1710000"/>
            <a:ext cx="11113200" cy="38875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22681C3-03D2-FF99-9479-22078D31697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5" name="Pladsholder til tekst 5">
            <a:extLst>
              <a:ext uri="{FF2B5EF4-FFF2-40B4-BE49-F238E27FC236}">
                <a16:creationId xmlns:a16="http://schemas.microsoft.com/office/drawing/2014/main" id="{59A55A80-F8AC-144E-A69A-4F7E32C49A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776577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og indhold baggrund">
    <p:bg>
      <p:bgPr>
        <a:solidFill>
          <a:srgbClr val="186A32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 descr="Rød løbebane med hvide streger">
            <a:extLst>
              <a:ext uri="{FF2B5EF4-FFF2-40B4-BE49-F238E27FC236}">
                <a16:creationId xmlns:a16="http://schemas.microsoft.com/office/drawing/2014/main" id="{C9820090-1DB6-7B42-530A-AF5562F02A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6AD6C70-5F51-4B56-B9D6-2161E2F13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999" y="1710000"/>
            <a:ext cx="11113200" cy="38875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22681C3-03D2-FF99-9479-22078D31697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5" name="Pladsholder til tekst 5">
            <a:extLst>
              <a:ext uri="{FF2B5EF4-FFF2-40B4-BE49-F238E27FC236}">
                <a16:creationId xmlns:a16="http://schemas.microsoft.com/office/drawing/2014/main" id="{8BD5CE4D-F7F1-1B09-6F20-822893073D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853811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50754-C2CE-4CB8-A5E2-AD2A724C0A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999" y="1710000"/>
            <a:ext cx="5374800" cy="3887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5600" y="1710000"/>
            <a:ext cx="5374800" cy="388762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2D51FC7-0545-C81C-2B34-647DE815F9F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5" name="Pladsholder til tekst 5">
            <a:extLst>
              <a:ext uri="{FF2B5EF4-FFF2-40B4-BE49-F238E27FC236}">
                <a16:creationId xmlns:a16="http://schemas.microsoft.com/office/drawing/2014/main" id="{E8438EB6-D7EB-5DBE-EB41-90FD3B34B6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09268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 baggrund">
    <p:bg>
      <p:bgPr>
        <a:solidFill>
          <a:srgbClr val="186A32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50754-C2CE-4CB8-A5E2-AD2A724C0A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8199" y="1710000"/>
            <a:ext cx="5386600" cy="388742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3800" y="1710000"/>
            <a:ext cx="5386600" cy="3887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8D88759-C118-799C-3064-F6351C7C4BF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5" name="Pladsholder til tekst 5">
            <a:extLst>
              <a:ext uri="{FF2B5EF4-FFF2-40B4-BE49-F238E27FC236}">
                <a16:creationId xmlns:a16="http://schemas.microsoft.com/office/drawing/2014/main" id="{C225EE43-F1ED-84F3-52F6-061848559E2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5141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PORT: Seks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A490D34-535C-4BE8-BC2D-3F3666ED7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98" y="540000"/>
            <a:ext cx="7646739" cy="687600"/>
          </a:xfrm>
        </p:spPr>
        <p:txBody>
          <a:bodyPr/>
          <a:lstStyle>
            <a:lvl1pPr>
              <a:defRPr sz="2400"/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0000" y="1710000"/>
            <a:ext cx="3463200" cy="1947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9pPr>
              <a:defRPr sz="4800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1"/>
            <a:endParaRPr lang="da-DK" noProof="0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39749" y="4003200"/>
            <a:ext cx="3463200" cy="1947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9pPr>
              <a:defRPr sz="4800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0"/>
            <a:endParaRPr lang="da-DK" noProof="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173555-621B-4368-85A5-D9E165C763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66800" y="1710000"/>
            <a:ext cx="3463200" cy="1947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9pPr>
              <a:defRPr sz="4800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0"/>
            <a:endParaRPr lang="da-DK" noProof="0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68EC61-8561-4994-8A68-09675655FE3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66800" y="4003200"/>
            <a:ext cx="3463200" cy="1947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9pPr>
              <a:defRPr sz="4800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0"/>
            <a:endParaRPr lang="da-DK" noProof="0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80BF4E0-B153-411A-B8D8-A592C7C565F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90000" y="1710000"/>
            <a:ext cx="3463200" cy="1947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9pPr>
              <a:defRPr sz="4800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0"/>
            <a:endParaRPr lang="da-DK" noProof="0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42111F8-D026-4080-A7D1-2BD64D26F37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90000" y="4003200"/>
            <a:ext cx="3463200" cy="1947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9pPr>
              <a:defRPr sz="4800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0"/>
            <a:endParaRPr lang="da-DK" noProof="0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C478F96-58A6-9614-5EBE-EB091D7ABE4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4" name="Pladsholder til tekst 5">
            <a:extLst>
              <a:ext uri="{FF2B5EF4-FFF2-40B4-BE49-F238E27FC236}">
                <a16:creationId xmlns:a16="http://schemas.microsoft.com/office/drawing/2014/main" id="{47D268BA-C359-5FCE-208F-233FCD73DC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44806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91">
          <p15:clr>
            <a:srgbClr val="FBAE40"/>
          </p15:clr>
        </p15:guide>
        <p15:guide id="2" orient="horz" pos="221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APPORT: Seks indhold">
    <p:bg>
      <p:bgPr>
        <a:solidFill>
          <a:srgbClr val="186A32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A490D34-535C-4BE8-BC2D-3F3666ED7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98" y="540000"/>
            <a:ext cx="7646739" cy="687600"/>
          </a:xfrm>
        </p:spPr>
        <p:txBody>
          <a:bodyPr/>
          <a:lstStyle>
            <a:lvl1pPr>
              <a:defRPr sz="2400"/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0000" y="1710000"/>
            <a:ext cx="3463200" cy="1947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9pPr>
              <a:defRPr sz="4800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1"/>
            <a:endParaRPr lang="da-DK" noProof="0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39749" y="4003200"/>
            <a:ext cx="3463200" cy="1947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9pPr>
              <a:defRPr sz="4800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0"/>
            <a:endParaRPr lang="da-DK" noProof="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173555-621B-4368-85A5-D9E165C763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66800" y="1710000"/>
            <a:ext cx="3463200" cy="1947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9pPr>
              <a:defRPr sz="4800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0"/>
            <a:endParaRPr lang="da-DK" noProof="0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68EC61-8561-4994-8A68-09675655FE3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66800" y="4003200"/>
            <a:ext cx="3463200" cy="1947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9pPr>
              <a:defRPr sz="4800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0"/>
            <a:endParaRPr lang="da-DK" noProof="0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80BF4E0-B153-411A-B8D8-A592C7C565F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90000" y="1710000"/>
            <a:ext cx="3463200" cy="1947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9pPr>
              <a:defRPr sz="4800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0"/>
            <a:endParaRPr lang="da-DK" noProof="0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42111F8-D026-4080-A7D1-2BD64D26F37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90000" y="4003200"/>
            <a:ext cx="3463200" cy="19476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9pPr>
              <a:defRPr sz="4800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0"/>
            <a:endParaRPr lang="da-DK" noProof="0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26C927C-5A4B-60B5-00D5-A355225DDED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4" name="Pladsholder til tekst 5">
            <a:extLst>
              <a:ext uri="{FF2B5EF4-FFF2-40B4-BE49-F238E27FC236}">
                <a16:creationId xmlns:a16="http://schemas.microsoft.com/office/drawing/2014/main" id="{9DAF3D14-DF18-598E-9F5F-556CD119A03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6433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991">
          <p15:clr>
            <a:srgbClr val="FBAE40"/>
          </p15:clr>
        </p15:guide>
        <p15:guide id="2" orient="horz" pos="221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ds- og preceslinj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CD8B227B-053D-BB38-34D3-95A9E565460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E74B9268-694C-6CA2-BC56-93F0D6C27C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52765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bg>
      <p:bgPr>
        <a:solidFill>
          <a:srgbClr val="186A32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4527EBE-4437-966E-8FBB-63B4C22CA2D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4" name="Pladsholder til tekst 5">
            <a:extLst>
              <a:ext uri="{FF2B5EF4-FFF2-40B4-BE49-F238E27FC236}">
                <a16:creationId xmlns:a16="http://schemas.microsoft.com/office/drawing/2014/main" id="{7D6CBAF6-C62F-0331-2A01-D05D8BF71F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72710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mte element går baggrund">
    <p:bg>
      <p:bgPr>
        <a:solidFill>
          <a:srgbClr val="186A32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 hidden="1">
            <a:extLst>
              <a:ext uri="{FF2B5EF4-FFF2-40B4-BE49-F238E27FC236}">
                <a16:creationId xmlns:a16="http://schemas.microsoft.com/office/drawing/2014/main" id="{467E647A-C53A-4CCC-8DA3-CCE393A500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40651048-6628-44DD-ACEE-BF5C3110B86B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6D462532-5399-4BA5-823B-1C78385B87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71F59926-907E-449A-A6AE-E759A85F986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t="20626" b="9662"/>
          <a:stretch/>
        </p:blipFill>
        <p:spPr>
          <a:xfrm>
            <a:off x="53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F8041818-A988-6CB8-1FC8-E6FFF7662A9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7460D873-2D3C-1265-2406-50B5B43C7A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211617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emte element går bag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20CC9C50-6CA5-441E-263B-F567B6B205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3194"/>
            <a:ext cx="12192000" cy="533399"/>
          </a:xfrm>
          <a:prstGeom prst="rect">
            <a:avLst/>
          </a:prstGeom>
        </p:spPr>
      </p:pic>
      <p:sp>
        <p:nvSpPr>
          <p:cNvPr id="9" name="Date Placeholder 3" hidden="1">
            <a:extLst>
              <a:ext uri="{FF2B5EF4-FFF2-40B4-BE49-F238E27FC236}">
                <a16:creationId xmlns:a16="http://schemas.microsoft.com/office/drawing/2014/main" id="{467E647A-C53A-4CCC-8DA3-CCE393A500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40651048-6628-44DD-ACEE-BF5C3110B86B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6D462532-5399-4BA5-823B-1C78385B87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8" name="Graphic 28">
            <a:extLst>
              <a:ext uri="{FF2B5EF4-FFF2-40B4-BE49-F238E27FC236}">
                <a16:creationId xmlns:a16="http://schemas.microsoft.com/office/drawing/2014/main" id="{DF97BB32-9BC4-4049-93D5-CB64989FC75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626" b="9662"/>
          <a:stretch/>
        </p:blipFill>
        <p:spPr>
          <a:xfrm flipH="1">
            <a:off x="538801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E0DD90F9-0B1F-4DD2-65F0-A3B6B4AC796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9234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BBAE1E90-6B95-4418-B79D-6CCA474F0CFE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DE875E-CE70-411F-B255-D516DBDF49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17C46E79-ABB1-4BD8-AB72-6E0E6DE2D73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noFill/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da-DK" dirty="0"/>
              <a:t>Klik på rammen for at Indsæt lyst billede via Templafy fanen</a:t>
            </a:r>
          </a:p>
        </p:txBody>
      </p:sp>
      <p:sp>
        <p:nvSpPr>
          <p:cNvPr id="16" name="Logo Placeholder 1">
            <a:extLst>
              <a:ext uri="{FF2B5EF4-FFF2-40B4-BE49-F238E27FC236}">
                <a16:creationId xmlns:a16="http://schemas.microsoft.com/office/drawing/2014/main" id="{6C5B65D6-0C8F-4F34-8A28-3774EFDDCE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136400" y="6122265"/>
            <a:ext cx="511200" cy="190800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00000" y="1269000"/>
            <a:ext cx="3780000" cy="4320000"/>
          </a:xfrm>
          <a:solidFill>
            <a:schemeClr val="bg1">
              <a:alpha val="90000"/>
            </a:schemeClr>
          </a:solidFill>
          <a:effectLst>
            <a:outerShdw blurRad="317500" sx="107000" sy="107000" algn="ctr" rotWithShape="0">
              <a:schemeClr val="tx1">
                <a:alpha val="25000"/>
              </a:schemeClr>
            </a:outerShdw>
          </a:effectLst>
        </p:spPr>
        <p:txBody>
          <a:bodyPr lIns="486000" tIns="972000" rIns="486000" bIns="1800000" anchor="t" anchorCtr="0"/>
          <a:lstStyle>
            <a:lvl1pPr algn="l">
              <a:lnSpc>
                <a:spcPct val="95000"/>
              </a:lnSpc>
              <a:defRPr sz="2800" cap="none" baseline="0"/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000" y="1744428"/>
            <a:ext cx="3780000" cy="288000"/>
          </a:xfrm>
        </p:spPr>
        <p:txBody>
          <a:bodyPr lIns="486000" rIns="48600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 b="0" cap="all" baseline="0"/>
            </a:lvl1pPr>
            <a:lvl2pPr marL="0" indent="0" algn="l">
              <a:buFont typeface="Arial" panose="020B0604020202020204" pitchFamily="34" charset="0"/>
              <a:buChar char="​"/>
              <a:defRPr sz="1600" b="0"/>
            </a:lvl2pPr>
            <a:lvl3pPr marL="0" indent="0" algn="l">
              <a:buFont typeface="Arial" panose="020B0604020202020204" pitchFamily="34" charset="0"/>
              <a:buChar char="​"/>
              <a:defRPr sz="1600" b="0"/>
            </a:lvl3pPr>
            <a:lvl4pPr marL="0" indent="0" algn="l">
              <a:buFont typeface="Arial" panose="020B0604020202020204" pitchFamily="34" charset="0"/>
              <a:buChar char="​"/>
              <a:defRPr sz="1600" b="0"/>
            </a:lvl4pPr>
            <a:lvl5pPr marL="0" indent="0" algn="l">
              <a:buFont typeface="Arial" panose="020B0604020202020204" pitchFamily="34" charset="0"/>
              <a:buChar char="​"/>
              <a:defRPr sz="1600" b="0"/>
            </a:lvl5pPr>
            <a:lvl6pPr marL="0" indent="0" algn="l">
              <a:buFont typeface="Arial" panose="020B0604020202020204" pitchFamily="34" charset="0"/>
              <a:buChar char="​"/>
              <a:defRPr sz="1600" b="0"/>
            </a:lvl6pPr>
            <a:lvl7pPr marL="0" indent="0" algn="l">
              <a:buFont typeface="Arial" panose="020B0604020202020204" pitchFamily="34" charset="0"/>
              <a:buChar char="​"/>
              <a:defRPr sz="1600" b="0"/>
            </a:lvl7pPr>
            <a:lvl8pPr marL="0" indent="0" algn="l">
              <a:buFont typeface="Arial" panose="020B0604020202020204" pitchFamily="34" charset="0"/>
              <a:buChar char="​"/>
              <a:defRPr sz="1600" b="0"/>
            </a:lvl8pPr>
            <a:lvl9pPr marL="0" indent="0" algn="l">
              <a:buFont typeface="Arial" panose="020B0604020202020204" pitchFamily="34" charset="0"/>
              <a:buChar char="​"/>
              <a:defRPr sz="1600" b="0"/>
            </a:lvl9pPr>
          </a:lstStyle>
          <a:p>
            <a:r>
              <a:rPr lang="da-DK" dirty="0"/>
              <a:t>tilføj undertitel 1 linj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97C4516-588C-403E-B742-5FE6AD05CE4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64400" y="4710600"/>
            <a:ext cx="2196000" cy="360000"/>
          </a:xfrm>
          <a:prstGeom prst="roundRect">
            <a:avLst>
              <a:gd name="adj" fmla="val 50000"/>
            </a:avLst>
          </a:prstGeom>
          <a:solidFill>
            <a:srgbClr val="186A32"/>
          </a:solidFill>
        </p:spPr>
        <p:txBody>
          <a:bodyPr lIns="126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52602D33-6656-448F-A4E7-3343BAA6B796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5" name="Pladsholder til billede 21">
            <a:extLst>
              <a:ext uri="{FF2B5EF4-FFF2-40B4-BE49-F238E27FC236}">
                <a16:creationId xmlns:a16="http://schemas.microsoft.com/office/drawing/2014/main" id="{406991F4-267F-BD81-2C3C-FC4C2F0A4F0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098088" y="488149"/>
            <a:ext cx="1598399" cy="1078921"/>
          </a:xfr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4" name="Pladsholder til tekst 5">
            <a:extLst>
              <a:ext uri="{FF2B5EF4-FFF2-40B4-BE49-F238E27FC236}">
                <a16:creationId xmlns:a16="http://schemas.microsoft.com/office/drawing/2014/main" id="{88071C24-66D7-E69A-3B14-F9029EBDF1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57131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mte element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5ACE5371-1496-9206-3485-046F6512B6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3194"/>
            <a:ext cx="12192000" cy="533399"/>
          </a:xfrm>
          <a:prstGeom prst="rect">
            <a:avLst/>
          </a:prstGeom>
        </p:spPr>
      </p:pic>
      <p:sp>
        <p:nvSpPr>
          <p:cNvPr id="9" name="Date Placeholder 3" hidden="1">
            <a:extLst>
              <a:ext uri="{FF2B5EF4-FFF2-40B4-BE49-F238E27FC236}">
                <a16:creationId xmlns:a16="http://schemas.microsoft.com/office/drawing/2014/main" id="{467E647A-C53A-4CCC-8DA3-CCE393A500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40651048-6628-44DD-ACEE-BF5C3110B86B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6D462532-5399-4BA5-823B-1C78385B87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71F59926-907E-449A-A6AE-E759A85F986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626" b="9662"/>
          <a:stretch/>
        </p:blipFill>
        <p:spPr>
          <a:xfrm>
            <a:off x="53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CC812413-9892-AFDD-53FC-24E35ABDB52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2529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emte element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97E8A32A-E7AD-CC07-786E-2F57715135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3194"/>
            <a:ext cx="12192000" cy="533399"/>
          </a:xfrm>
          <a:prstGeom prst="rect">
            <a:avLst/>
          </a:prstGeom>
        </p:spPr>
      </p:pic>
      <p:sp>
        <p:nvSpPr>
          <p:cNvPr id="9" name="Date Placeholder 3" hidden="1">
            <a:extLst>
              <a:ext uri="{FF2B5EF4-FFF2-40B4-BE49-F238E27FC236}">
                <a16:creationId xmlns:a16="http://schemas.microsoft.com/office/drawing/2014/main" id="{467E647A-C53A-4CCC-8DA3-CCE393A500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40651048-6628-44DD-ACEE-BF5C3110B86B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6D462532-5399-4BA5-823B-1C78385B87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8" name="Graphic 28">
            <a:extLst>
              <a:ext uri="{FF2B5EF4-FFF2-40B4-BE49-F238E27FC236}">
                <a16:creationId xmlns:a16="http://schemas.microsoft.com/office/drawing/2014/main" id="{E607A8BC-D9BA-4EED-BA70-5E383DC0D32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626" b="9662"/>
          <a:stretch/>
        </p:blipFill>
        <p:spPr>
          <a:xfrm flipH="1">
            <a:off x="35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BAFB2F9A-7C2D-667E-B92D-79DE429C7CE2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8568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emte element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 hidden="1">
            <a:extLst>
              <a:ext uri="{FF2B5EF4-FFF2-40B4-BE49-F238E27FC236}">
                <a16:creationId xmlns:a16="http://schemas.microsoft.com/office/drawing/2014/main" id="{467E647A-C53A-4CCC-8DA3-CCE393A500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40651048-6628-44DD-ACEE-BF5C3110B86B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6D462532-5399-4BA5-823B-1C78385B87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8" name="Graphic 28">
            <a:extLst>
              <a:ext uri="{FF2B5EF4-FFF2-40B4-BE49-F238E27FC236}">
                <a16:creationId xmlns:a16="http://schemas.microsoft.com/office/drawing/2014/main" id="{E607A8BC-D9BA-4EED-BA70-5E383DC0D32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t="20626" b="9662"/>
          <a:stretch/>
        </p:blipFill>
        <p:spPr>
          <a:xfrm flipH="1">
            <a:off x="35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sp>
        <p:nvSpPr>
          <p:cNvPr id="2" name="Rektangel 1">
            <a:extLst>
              <a:ext uri="{FF2B5EF4-FFF2-40B4-BE49-F238E27FC236}">
                <a16:creationId xmlns:a16="http://schemas.microsoft.com/office/drawing/2014/main" id="{0E8C60E7-0441-7FA4-A045-86D015D4A5E9}"/>
              </a:ext>
            </a:extLst>
          </p:cNvPr>
          <p:cNvSpPr/>
          <p:nvPr userDrawn="1"/>
        </p:nvSpPr>
        <p:spPr>
          <a:xfrm>
            <a:off x="545782" y="539751"/>
            <a:ext cx="1903731" cy="3148330"/>
          </a:xfrm>
          <a:prstGeom prst="rect">
            <a:avLst/>
          </a:prstGeom>
          <a:solidFill>
            <a:srgbClr val="2494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noProof="0" dirty="0" err="1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6CEBA03F-7AB9-D9FF-089D-208BEF1173D5}"/>
              </a:ext>
            </a:extLst>
          </p:cNvPr>
          <p:cNvSpPr/>
          <p:nvPr userDrawn="1"/>
        </p:nvSpPr>
        <p:spPr>
          <a:xfrm>
            <a:off x="2677885" y="539751"/>
            <a:ext cx="1854925" cy="3148330"/>
          </a:xfrm>
          <a:prstGeom prst="rect">
            <a:avLst/>
          </a:prstGeom>
          <a:solidFill>
            <a:srgbClr val="1E7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noProof="0" dirty="0" err="1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B1C13D4C-C5EE-FD6F-3107-F165BA4C47B9}"/>
              </a:ext>
            </a:extLst>
          </p:cNvPr>
          <p:cNvSpPr/>
          <p:nvPr userDrawn="1"/>
        </p:nvSpPr>
        <p:spPr>
          <a:xfrm>
            <a:off x="4728843" y="539751"/>
            <a:ext cx="1959340" cy="3148330"/>
          </a:xfrm>
          <a:prstGeom prst="rect">
            <a:avLst/>
          </a:prstGeom>
          <a:solidFill>
            <a:srgbClr val="186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noProof="0" dirty="0" err="1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1CA4787D-15DA-71A0-485B-65E159A83FF5}"/>
              </a:ext>
            </a:extLst>
          </p:cNvPr>
          <p:cNvSpPr/>
          <p:nvPr userDrawn="1"/>
        </p:nvSpPr>
        <p:spPr>
          <a:xfrm>
            <a:off x="6870701" y="539751"/>
            <a:ext cx="1909764" cy="3148330"/>
          </a:xfrm>
          <a:prstGeom prst="rect">
            <a:avLst/>
          </a:prstGeom>
          <a:solidFill>
            <a:srgbClr val="1058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noProof="0" dirty="0" err="1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F4F1F35-225A-DDD9-FEF8-449BA23AA749}"/>
              </a:ext>
            </a:extLst>
          </p:cNvPr>
          <p:cNvSpPr/>
          <p:nvPr userDrawn="1"/>
        </p:nvSpPr>
        <p:spPr>
          <a:xfrm>
            <a:off x="8974183" y="539751"/>
            <a:ext cx="2079579" cy="3148330"/>
          </a:xfrm>
          <a:prstGeom prst="rect">
            <a:avLst/>
          </a:prstGeom>
          <a:solidFill>
            <a:srgbClr val="0045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noProof="0" dirty="0" err="1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9E71331-911D-AADB-72E2-AAA117822F78}"/>
              </a:ext>
            </a:extLst>
          </p:cNvPr>
          <p:cNvSpPr/>
          <p:nvPr userDrawn="1"/>
        </p:nvSpPr>
        <p:spPr>
          <a:xfrm>
            <a:off x="545781" y="3840480"/>
            <a:ext cx="10507982" cy="1800746"/>
          </a:xfrm>
          <a:prstGeom prst="rect">
            <a:avLst/>
          </a:prstGeom>
          <a:gradFill>
            <a:gsLst>
              <a:gs pos="69000">
                <a:srgbClr val="105829"/>
              </a:gs>
              <a:gs pos="24000">
                <a:srgbClr val="1E7A3A"/>
              </a:gs>
              <a:gs pos="47000">
                <a:srgbClr val="186A32"/>
              </a:gs>
              <a:gs pos="0">
                <a:srgbClr val="249446"/>
              </a:gs>
              <a:gs pos="100000">
                <a:srgbClr val="00451E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noProof="0" dirty="0" err="1"/>
          </a:p>
        </p:txBody>
      </p:sp>
      <p:sp>
        <p:nvSpPr>
          <p:cNvPr id="10" name="Pladsholder til tekst 5">
            <a:extLst>
              <a:ext uri="{FF2B5EF4-FFF2-40B4-BE49-F238E27FC236}">
                <a16:creationId xmlns:a16="http://schemas.microsoft.com/office/drawing/2014/main" id="{94CE3B98-7B53-980B-C134-334652C908B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56000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emte element hvid">
    <p:bg>
      <p:bgPr>
        <a:gradFill>
          <a:gsLst>
            <a:gs pos="0">
              <a:srgbClr val="249446"/>
            </a:gs>
            <a:gs pos="100000">
              <a:srgbClr val="00451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31">
            <a:extLst>
              <a:ext uri="{FF2B5EF4-FFF2-40B4-BE49-F238E27FC236}">
                <a16:creationId xmlns:a16="http://schemas.microsoft.com/office/drawing/2014/main" id="{D88A2F99-BB4E-438D-9C36-7B643467C38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15136" t="36359"/>
          <a:stretch/>
        </p:blipFill>
        <p:spPr>
          <a:xfrm flipV="1">
            <a:off x="0" y="45384"/>
            <a:ext cx="10193471" cy="6767231"/>
          </a:xfrm>
          <a:custGeom>
            <a:avLst/>
            <a:gdLst>
              <a:gd name="connsiteX0" fmla="*/ 0 w 10193471"/>
              <a:gd name="connsiteY0" fmla="*/ 6767231 h 6767231"/>
              <a:gd name="connsiteX1" fmla="*/ 10193471 w 10193471"/>
              <a:gd name="connsiteY1" fmla="*/ 6767231 h 6767231"/>
              <a:gd name="connsiteX2" fmla="*/ 10193471 w 10193471"/>
              <a:gd name="connsiteY2" fmla="*/ 0 h 6767231"/>
              <a:gd name="connsiteX3" fmla="*/ 0 w 10193471"/>
              <a:gd name="connsiteY3" fmla="*/ 0 h 6767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93471" h="6767231">
                <a:moveTo>
                  <a:pt x="0" y="6767231"/>
                </a:moveTo>
                <a:lnTo>
                  <a:pt x="10193471" y="6767231"/>
                </a:lnTo>
                <a:lnTo>
                  <a:pt x="10193471" y="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9" name="Date Placeholder 3" hidden="1">
            <a:extLst>
              <a:ext uri="{FF2B5EF4-FFF2-40B4-BE49-F238E27FC236}">
                <a16:creationId xmlns:a16="http://schemas.microsoft.com/office/drawing/2014/main" id="{467E647A-C53A-4CCC-8DA3-CCE393A500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40651048-6628-44DD-ACEE-BF5C3110B86B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6D462532-5399-4BA5-823B-1C78385B87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BDB6C08-0686-1A11-58BE-536D48E57D0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41AE453A-D022-15E8-5087-BB33AF4F0A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35241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3">
            <a:extLst>
              <a:ext uri="{FF2B5EF4-FFF2-40B4-BE49-F238E27FC236}">
                <a16:creationId xmlns:a16="http://schemas.microsoft.com/office/drawing/2014/main" id="{86940190-31B3-4285-B172-A74BDBF7AF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83127" y="1484283"/>
            <a:ext cx="2846348" cy="4693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BILLEDER</a:t>
            </a:r>
            <a:br>
              <a:rPr lang="da-DK" sz="1600" dirty="0">
                <a:latin typeface="+mn-lt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fra Templafy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den bl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na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dropdown menuen, vælg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eller klik på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illeder og ikoner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kyfish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Templafy vinduet i højre side af skærm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billede fra andre sted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å slides med billedpladsholder, 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søge efter billede</a:t>
            </a:r>
            <a:endParaRPr lang="da-DK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ændre billedets fokus/størrels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Ønsker du at skalere billedet, så hol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nappen nede, mens du trækker i billedets hjørner</a:t>
            </a:r>
          </a:p>
          <a:p>
            <a:pPr eaLnBrk="1" hangingPunct="1">
              <a:spcAft>
                <a:spcPts val="600"/>
              </a:spcAft>
              <a:defRPr/>
            </a:pP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vis du sletter billedet og indsætter et nyt, kan billedet lægge 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r bagest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HJÆLPELINJ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Alt + F9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hurtig visning af hjælpelinjer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da-DK" sz="900" b="0" i="0" dirty="0">
                <a:solidFill>
                  <a:srgbClr val="333333"/>
                </a:solidFill>
                <a:effectLst/>
                <a:latin typeface="Arial"/>
              </a:rPr>
              <a:t>⌘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endParaRPr lang="da-DK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Text Box 3">
            <a:extLst>
              <a:ext uri="{FF2B5EF4-FFF2-40B4-BE49-F238E27FC236}">
                <a16:creationId xmlns:a16="http://schemas.microsoft.com/office/drawing/2014/main" id="{16A5B6A0-03E8-41F0-86AC-378C5C3FB6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89935" y="1495485"/>
            <a:ext cx="2863828" cy="467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IDEHOVED &amp; -FOD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et sidste i din præsentation, så ændringerne slår igennem på alle slide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indtast evt. tekst i sidefod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vis det kun skal være på et enkelt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INDHOLD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u har 2 muligheder, når du kopierer gammelt indhold over i din nye præsentation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pret et slide i din nye præsentation og kopier ét indholdselement ad gangen (fx kopier al tekst fra én tekstboks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kopier et helt slide over i din nye præsentation og vælg derefter et passende layout . Husk at slette de gamle, forkerte layouts (gå i Vis &gt; Slidemaster og slet dem)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, BILLEDER OG IKON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prædefineret slides og elementer fra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.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illeder og ikoner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a dropdown menuen eller knapperne i Templafy vinduet i højre side af skærmen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8" name="Text Box 2">
            <a:extLst>
              <a:ext uri="{FF2B5EF4-FFF2-40B4-BE49-F238E27FC236}">
                <a16:creationId xmlns:a16="http://schemas.microsoft.com/office/drawing/2014/main" id="{51D73D8C-1A2D-434D-8578-06D3B043BE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39752" y="1484283"/>
            <a:ext cx="2772000" cy="468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TYPOGRAFI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skifte fra et niveau til et næst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tilbage i tekst-niveauer, bru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t ka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listeniveau bruges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latin typeface="+mn-lt"/>
                <a:cs typeface="Arial" panose="020B0604020202020204" pitchFamily="34" charset="0"/>
              </a:rPr>
              <a:t>TIP: Brug</a:t>
            </a:r>
            <a:r>
              <a:rPr lang="da-DK" sz="900" b="1" baseline="0" noProof="1">
                <a:latin typeface="+mn-lt"/>
                <a:cs typeface="Arial" panose="020B0604020202020204" pitchFamily="34" charset="0"/>
              </a:rPr>
              <a:t> bullet knappen</a:t>
            </a:r>
            <a:endParaRPr lang="da-DK" sz="900" b="1" noProof="1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jern bullet for almindelig tekst.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bullet knappen for at sætte korrekt bullet igen.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sz="1600" dirty="0"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yt Slid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 for at indsætte nyt slide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Ændre layout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få vist en dropdown menu af mulige slides layout</a:t>
            </a:r>
            <a:b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nulstille placering, størrelse og formatering af pladsholdere til layoutets oprindelige design 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67CFEA91-5609-48D9-BC31-25A4F25022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9433" y="3225698"/>
            <a:ext cx="257143" cy="285714"/>
          </a:xfrm>
          <a:prstGeom prst="rect">
            <a:avLst/>
          </a:prstGeom>
        </p:spPr>
      </p:pic>
      <p:pic>
        <p:nvPicPr>
          <p:cNvPr id="32" name="Picture 29">
            <a:extLst>
              <a:ext uri="{FF2B5EF4-FFF2-40B4-BE49-F238E27FC236}">
                <a16:creationId xmlns:a16="http://schemas.microsoft.com/office/drawing/2014/main" id="{336B7D6F-306E-4198-B5D8-8300D5EEC9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9433" y="2484680"/>
            <a:ext cx="457143" cy="257143"/>
          </a:xfrm>
          <a:prstGeom prst="rect">
            <a:avLst/>
          </a:prstGeom>
        </p:spPr>
      </p:pic>
      <p:pic>
        <p:nvPicPr>
          <p:cNvPr id="34" name="Billede 33">
            <a:extLst>
              <a:ext uri="{FF2B5EF4-FFF2-40B4-BE49-F238E27FC236}">
                <a16:creationId xmlns:a16="http://schemas.microsoft.com/office/drawing/2014/main" id="{8B7D4B5D-5105-4B08-9F8D-29962C5C240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9433" y="4116178"/>
            <a:ext cx="308589" cy="528030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10574EF6-7E2E-460C-A32A-3DDD4B75B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31"/>
          <a:stretch/>
        </p:blipFill>
        <p:spPr>
          <a:xfrm>
            <a:off x="3299433" y="5730886"/>
            <a:ext cx="496606" cy="172842"/>
          </a:xfrm>
          <a:prstGeom prst="rect">
            <a:avLst/>
          </a:prstGeom>
        </p:spPr>
      </p:pic>
      <p:pic>
        <p:nvPicPr>
          <p:cNvPr id="38" name="Picture 33">
            <a:extLst>
              <a:ext uri="{FF2B5EF4-FFF2-40B4-BE49-F238E27FC236}">
                <a16:creationId xmlns:a16="http://schemas.microsoft.com/office/drawing/2014/main" id="{26F154F3-5A17-41F1-9B46-FCA4D9945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01" t="45142" r="62601" b="9046"/>
          <a:stretch/>
        </p:blipFill>
        <p:spPr>
          <a:xfrm>
            <a:off x="7131861" y="2986848"/>
            <a:ext cx="341204" cy="321707"/>
          </a:xfrm>
          <a:prstGeom prst="rect">
            <a:avLst/>
          </a:prstGeom>
        </p:spPr>
      </p:pic>
      <p:pic>
        <p:nvPicPr>
          <p:cNvPr id="39" name="Billede 38">
            <a:extLst>
              <a:ext uri="{FF2B5EF4-FFF2-40B4-BE49-F238E27FC236}">
                <a16:creationId xmlns:a16="http://schemas.microsoft.com/office/drawing/2014/main" id="{9BB80CE2-5590-41B1-90B8-FB96BC0E66D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3362" y="3705212"/>
            <a:ext cx="366043" cy="480431"/>
          </a:xfrm>
          <a:prstGeom prst="rect">
            <a:avLst/>
          </a:prstGeom>
        </p:spPr>
      </p:pic>
      <p:sp>
        <p:nvSpPr>
          <p:cNvPr id="44" name="Fast overskrift">
            <a:extLst>
              <a:ext uri="{FF2B5EF4-FFF2-40B4-BE49-F238E27FC236}">
                <a16:creationId xmlns:a16="http://schemas.microsoft.com/office/drawing/2014/main" id="{7AE3BB46-77B5-4BE0-A557-B2DBAB09F17D}"/>
              </a:ext>
            </a:extLst>
          </p:cNvPr>
          <p:cNvSpPr txBox="1"/>
          <p:nvPr userDrawn="1"/>
        </p:nvSpPr>
        <p:spPr>
          <a:xfrm>
            <a:off x="539752" y="512213"/>
            <a:ext cx="11109321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2800" b="1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</a:p>
        </p:txBody>
      </p:sp>
      <p:pic>
        <p:nvPicPr>
          <p:cNvPr id="102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585BA4E-F627-486D-80B3-0CE0EDC59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32521" y="5189139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596A17E0-59D7-48F4-8A7B-898B5B7B336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9433" y="4818307"/>
            <a:ext cx="475428" cy="17676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9D257D03-9779-4535-98A8-F6E165A0B27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2521" y="2050541"/>
            <a:ext cx="440195" cy="543366"/>
          </a:xfrm>
          <a:prstGeom prst="rect">
            <a:avLst/>
          </a:prstGeom>
        </p:spPr>
      </p:pic>
      <p:sp>
        <p:nvSpPr>
          <p:cNvPr id="26" name="Date Placeholder 6" hidden="1">
            <a:extLst>
              <a:ext uri="{FF2B5EF4-FFF2-40B4-BE49-F238E27FC236}">
                <a16:creationId xmlns:a16="http://schemas.microsoft.com/office/drawing/2014/main" id="{77A12538-135F-4FF2-A008-DD8778997A8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4844CF9-DA68-474D-B924-9E08B25C87EB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30" name="Footer Placeholder 8" hidden="1">
            <a:extLst>
              <a:ext uri="{FF2B5EF4-FFF2-40B4-BE49-F238E27FC236}">
                <a16:creationId xmlns:a16="http://schemas.microsoft.com/office/drawing/2014/main" id="{A42D56E7-CDF6-4E80-AFF3-D415EB0F22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31" name="Slide Number Placeholder 10" hidden="1">
            <a:extLst>
              <a:ext uri="{FF2B5EF4-FFF2-40B4-BE49-F238E27FC236}">
                <a16:creationId xmlns:a16="http://schemas.microsoft.com/office/drawing/2014/main" id="{42EB6738-FD94-43D4-9716-64D106B23C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066328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da-DK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400" b="0" noProof="0" dirty="0">
                <a:solidFill>
                  <a:schemeClr val="bg1"/>
                </a:solidFill>
              </a:rPr>
              <a:t>Hvis du ser andre </a:t>
            </a:r>
            <a:r>
              <a:rPr lang="da-DK" sz="4400" b="1" i="1" noProof="0" dirty="0">
                <a:solidFill>
                  <a:schemeClr val="bg1"/>
                </a:solidFill>
              </a:rPr>
              <a:t>layouts efter dette,</a:t>
            </a:r>
            <a:br>
              <a:rPr lang="da-DK" sz="4400" b="0" i="0" noProof="0" dirty="0">
                <a:solidFill>
                  <a:schemeClr val="bg1"/>
                </a:solidFill>
              </a:rPr>
            </a:br>
            <a:r>
              <a:rPr lang="da-DK" sz="4400" b="0" noProof="0" dirty="0">
                <a:solidFill>
                  <a:schemeClr val="bg1"/>
                </a:solidFill>
              </a:rPr>
              <a:t>brug dem ikke. Disse layouts </a:t>
            </a:r>
            <a:r>
              <a:rPr lang="da-DK" sz="4400" b="1" i="1" u="none" noProof="0" dirty="0">
                <a:solidFill>
                  <a:schemeClr val="bg1"/>
                </a:solidFill>
              </a:rPr>
              <a:t>tilhører ikke </a:t>
            </a:r>
            <a:r>
              <a:rPr lang="da-DK" sz="4400" b="0" i="0" u="none" noProof="0" dirty="0">
                <a:solidFill>
                  <a:schemeClr val="bg1"/>
                </a:solidFill>
              </a:rPr>
              <a:t>vores </a:t>
            </a:r>
            <a:r>
              <a:rPr lang="da-DK" sz="4400" b="0" i="0" u="none" noProof="1">
                <a:solidFill>
                  <a:schemeClr val="bg1"/>
                </a:solidFill>
              </a:rPr>
              <a:t>corporate</a:t>
            </a:r>
            <a:r>
              <a:rPr lang="da-DK" sz="4400" b="0" noProof="0" dirty="0">
                <a:solidFill>
                  <a:schemeClr val="bg1"/>
                </a:solidFill>
              </a:rPr>
              <a:t>skabelon.</a:t>
            </a:r>
            <a:br>
              <a:rPr lang="da-DK" sz="2800" b="0" noProof="0" dirty="0">
                <a:solidFill>
                  <a:schemeClr val="bg1"/>
                </a:solidFill>
              </a:rPr>
            </a:br>
            <a:br>
              <a:rPr lang="da-DK" sz="2800" b="0" noProof="0" dirty="0">
                <a:solidFill>
                  <a:schemeClr val="bg1"/>
                </a:solidFill>
              </a:rPr>
            </a:br>
            <a:endParaRPr lang="da-DK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36" y="2986685"/>
            <a:ext cx="1015234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0000" b="1" i="1" noProof="0" dirty="0">
                <a:solidFill>
                  <a:schemeClr val="bg1"/>
                </a:solidFill>
              </a:rPr>
              <a:t>Brug dem ikke </a:t>
            </a:r>
            <a:endParaRPr lang="da-DK" sz="10000" b="1" i="1" noProof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Pga. PowerPoints standard Kopier/Indsæt funktionalitet kan ekstra uønskede layouts forekomme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OBS! Layouts efter dette kan indeholde potentiel fortrolig information.</a:t>
            </a:r>
            <a:br>
              <a:rPr lang="da-DK" sz="1800" b="0" noProof="0" dirty="0">
                <a:solidFill>
                  <a:schemeClr val="bg1"/>
                </a:solidFill>
              </a:rPr>
            </a:br>
            <a:endParaRPr lang="da-DK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64CEB7DD-E8FE-47C7-8823-750A10754EB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BD842B9B-7AB8-4FBB-97C2-959C0F27CF9D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06739825-D1B6-4F3A-8216-BA5B32BD19E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A2244AC4-18E1-41D9-B6D4-4D2415BE8C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886622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DE875E-CE70-411F-B255-D516DBDF49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17C46E79-ABB1-4BD8-AB72-6E0E6DE2D73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BBAE1E90-6B95-4418-B79D-6CCA474F0CFE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accent3"/>
          </a:solidFill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da-DK" dirty="0"/>
              <a:t>Klik på rammen for at Indsæt mørkt billede via Templafy fan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00000" y="1277525"/>
            <a:ext cx="3780000" cy="4320000"/>
          </a:xfrm>
          <a:solidFill>
            <a:schemeClr val="bg1">
              <a:alpha val="90000"/>
            </a:schemeClr>
          </a:solidFill>
          <a:effectLst>
            <a:outerShdw blurRad="317500" sx="107000" sy="107000" algn="ctr" rotWithShape="0">
              <a:schemeClr val="tx1">
                <a:alpha val="25000"/>
              </a:schemeClr>
            </a:outerShdw>
          </a:effectLst>
        </p:spPr>
        <p:txBody>
          <a:bodyPr lIns="486000" tIns="972000" rIns="486000" bIns="1800000" anchor="t" anchorCtr="0"/>
          <a:lstStyle>
            <a:lvl1pPr algn="l">
              <a:lnSpc>
                <a:spcPct val="95000"/>
              </a:lnSpc>
              <a:defRPr sz="2800" cap="none" baseline="0"/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000" y="1752953"/>
            <a:ext cx="3780000" cy="288000"/>
          </a:xfrm>
        </p:spPr>
        <p:txBody>
          <a:bodyPr lIns="486000" rIns="48600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 b="0" cap="all" baseline="0"/>
            </a:lvl1pPr>
            <a:lvl2pPr marL="0" indent="0" algn="l">
              <a:buFont typeface="Arial" panose="020B0604020202020204" pitchFamily="34" charset="0"/>
              <a:buChar char="​"/>
              <a:defRPr sz="1600" b="0"/>
            </a:lvl2pPr>
            <a:lvl3pPr marL="0" indent="0" algn="l">
              <a:buFont typeface="Arial" panose="020B0604020202020204" pitchFamily="34" charset="0"/>
              <a:buChar char="​"/>
              <a:defRPr sz="1600" b="0"/>
            </a:lvl3pPr>
            <a:lvl4pPr marL="0" indent="0" algn="l">
              <a:buFont typeface="Arial" panose="020B0604020202020204" pitchFamily="34" charset="0"/>
              <a:buChar char="​"/>
              <a:defRPr sz="1600" b="0"/>
            </a:lvl4pPr>
            <a:lvl5pPr marL="0" indent="0" algn="l">
              <a:buFont typeface="Arial" panose="020B0604020202020204" pitchFamily="34" charset="0"/>
              <a:buChar char="​"/>
              <a:defRPr sz="1600" b="0"/>
            </a:lvl5pPr>
            <a:lvl6pPr marL="0" indent="0" algn="l">
              <a:buFont typeface="Arial" panose="020B0604020202020204" pitchFamily="34" charset="0"/>
              <a:buChar char="​"/>
              <a:defRPr sz="1600" b="0"/>
            </a:lvl6pPr>
            <a:lvl7pPr marL="0" indent="0" algn="l">
              <a:buFont typeface="Arial" panose="020B0604020202020204" pitchFamily="34" charset="0"/>
              <a:buChar char="​"/>
              <a:defRPr sz="1600" b="0"/>
            </a:lvl7pPr>
            <a:lvl8pPr marL="0" indent="0" algn="l">
              <a:buFont typeface="Arial" panose="020B0604020202020204" pitchFamily="34" charset="0"/>
              <a:buChar char="​"/>
              <a:defRPr sz="1600" b="0"/>
            </a:lvl8pPr>
            <a:lvl9pPr marL="0" indent="0" algn="l">
              <a:buFont typeface="Arial" panose="020B0604020202020204" pitchFamily="34" charset="0"/>
              <a:buChar char="​"/>
              <a:defRPr sz="1600" b="0"/>
            </a:lvl9pPr>
          </a:lstStyle>
          <a:p>
            <a:r>
              <a:rPr lang="da-DK" dirty="0"/>
              <a:t>tilføj undertitel 1 linj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97C4516-588C-403E-B742-5FE6AD05CE4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64400" y="4719125"/>
            <a:ext cx="2196000" cy="360000"/>
          </a:xfrm>
          <a:prstGeom prst="roundRect">
            <a:avLst>
              <a:gd name="adj" fmla="val 50000"/>
            </a:avLst>
          </a:prstGeom>
          <a:solidFill>
            <a:srgbClr val="186A32"/>
          </a:solidFill>
        </p:spPr>
        <p:txBody>
          <a:bodyPr lIns="126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6B698E15-2048-4B6C-9E0F-12268B58332A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5" name="Pladsholder til billede 21">
            <a:extLst>
              <a:ext uri="{FF2B5EF4-FFF2-40B4-BE49-F238E27FC236}">
                <a16:creationId xmlns:a16="http://schemas.microsoft.com/office/drawing/2014/main" id="{11C90679-40FE-BD65-4AD4-C46CE7DD7B0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0098088" y="488149"/>
            <a:ext cx="1598399" cy="1078921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10" name="Pladsholder til tekst 5">
            <a:extLst>
              <a:ext uri="{FF2B5EF4-FFF2-40B4-BE49-F238E27FC236}">
                <a16:creationId xmlns:a16="http://schemas.microsoft.com/office/drawing/2014/main" id="{79C2DCA1-D500-F184-1F23-D403B0F6E6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18051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tørre og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BBAE1E90-6B95-4418-B79D-6CCA474F0CFE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DE875E-CE70-411F-B255-D516DBDF49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17C46E79-ABB1-4BD8-AB72-6E0E6DE2D73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noFill/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da-DK" dirty="0"/>
              <a:t>Klik på rammen for at Indsæt lyst billede via Templafy fan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00000" y="1269000"/>
            <a:ext cx="6328800" cy="4320000"/>
          </a:xfrm>
          <a:solidFill>
            <a:schemeClr val="bg1">
              <a:alpha val="90000"/>
            </a:schemeClr>
          </a:solidFill>
          <a:effectLst>
            <a:outerShdw blurRad="317500" sx="107000" sy="107000" algn="ctr" rotWithShape="0">
              <a:schemeClr val="tx1">
                <a:alpha val="25000"/>
              </a:schemeClr>
            </a:outerShdw>
          </a:effectLst>
        </p:spPr>
        <p:txBody>
          <a:bodyPr lIns="486000" tIns="972000" rIns="486000" bIns="1800000" anchor="t" anchorCtr="0"/>
          <a:lstStyle>
            <a:lvl1pPr algn="l">
              <a:lnSpc>
                <a:spcPct val="95000"/>
              </a:lnSpc>
              <a:defRPr sz="3200" cap="none" baseline="0"/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000" y="1744428"/>
            <a:ext cx="6328800" cy="288000"/>
          </a:xfrm>
        </p:spPr>
        <p:txBody>
          <a:bodyPr lIns="486000" rIns="48600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 b="0" cap="all" baseline="0"/>
            </a:lvl1pPr>
            <a:lvl2pPr marL="0" indent="0" algn="l">
              <a:buFont typeface="Arial" panose="020B0604020202020204" pitchFamily="34" charset="0"/>
              <a:buChar char="​"/>
              <a:defRPr sz="1600" b="0"/>
            </a:lvl2pPr>
            <a:lvl3pPr marL="0" indent="0" algn="l">
              <a:buFont typeface="Arial" panose="020B0604020202020204" pitchFamily="34" charset="0"/>
              <a:buChar char="​"/>
              <a:defRPr sz="1600" b="0"/>
            </a:lvl3pPr>
            <a:lvl4pPr marL="0" indent="0" algn="l">
              <a:buFont typeface="Arial" panose="020B0604020202020204" pitchFamily="34" charset="0"/>
              <a:buChar char="​"/>
              <a:defRPr sz="1600" b="0"/>
            </a:lvl4pPr>
            <a:lvl5pPr marL="0" indent="0" algn="l">
              <a:buFont typeface="Arial" panose="020B0604020202020204" pitchFamily="34" charset="0"/>
              <a:buChar char="​"/>
              <a:defRPr sz="1600" b="0"/>
            </a:lvl5pPr>
            <a:lvl6pPr marL="0" indent="0" algn="l">
              <a:buFont typeface="Arial" panose="020B0604020202020204" pitchFamily="34" charset="0"/>
              <a:buChar char="​"/>
              <a:defRPr sz="1600" b="0"/>
            </a:lvl6pPr>
            <a:lvl7pPr marL="0" indent="0" algn="l">
              <a:buFont typeface="Arial" panose="020B0604020202020204" pitchFamily="34" charset="0"/>
              <a:buChar char="​"/>
              <a:defRPr sz="1600" b="0"/>
            </a:lvl7pPr>
            <a:lvl8pPr marL="0" indent="0" algn="l">
              <a:buFont typeface="Arial" panose="020B0604020202020204" pitchFamily="34" charset="0"/>
              <a:buChar char="​"/>
              <a:defRPr sz="1600" b="0"/>
            </a:lvl8pPr>
            <a:lvl9pPr marL="0" indent="0" algn="l">
              <a:buFont typeface="Arial" panose="020B0604020202020204" pitchFamily="34" charset="0"/>
              <a:buChar char="​"/>
              <a:defRPr sz="1600" b="0"/>
            </a:lvl9pPr>
          </a:lstStyle>
          <a:p>
            <a:r>
              <a:rPr lang="da-DK" dirty="0"/>
              <a:t>tilføj undertitel 1 linj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97C4516-588C-403E-B742-5FE6AD05CE4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64400" y="4710600"/>
            <a:ext cx="2196000" cy="360000"/>
          </a:xfrm>
          <a:prstGeom prst="roundRect">
            <a:avLst>
              <a:gd name="adj" fmla="val 50000"/>
            </a:avLst>
          </a:prstGeom>
          <a:solidFill>
            <a:srgbClr val="186A32"/>
          </a:solidFill>
        </p:spPr>
        <p:txBody>
          <a:bodyPr lIns="126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EC332B90-8581-4415-8FCB-F453E005EDCC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6" name="Pladsholder til billede 21">
            <a:extLst>
              <a:ext uri="{FF2B5EF4-FFF2-40B4-BE49-F238E27FC236}">
                <a16:creationId xmlns:a16="http://schemas.microsoft.com/office/drawing/2014/main" id="{239191DC-F858-7AA5-CD2A-A6781967E09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098088" y="488149"/>
            <a:ext cx="1598399" cy="1078921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4" name="Pladsholder til tekst 5">
            <a:extLst>
              <a:ext uri="{FF2B5EF4-FFF2-40B4-BE49-F238E27FC236}">
                <a16:creationId xmlns:a16="http://schemas.microsoft.com/office/drawing/2014/main" id="{A4B37F65-0CEC-F20F-DF80-89F1539089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4845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tørre og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BBAE1E90-6B95-4418-B79D-6CCA474F0CFE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DE875E-CE70-411F-B255-D516DBDF49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17C46E79-ABB1-4BD8-AB72-6E0E6DE2D73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accent3"/>
          </a:solidFill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da-DK" dirty="0"/>
              <a:t>Klik på rammen for at Indsæt mørkt billede via Templafy fan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00000" y="1269000"/>
            <a:ext cx="6328800" cy="4320000"/>
          </a:xfrm>
          <a:solidFill>
            <a:schemeClr val="bg1">
              <a:alpha val="90000"/>
            </a:schemeClr>
          </a:solidFill>
          <a:effectLst>
            <a:outerShdw blurRad="317500" sx="107000" sy="107000" algn="ctr" rotWithShape="0">
              <a:schemeClr val="tx1">
                <a:alpha val="25000"/>
              </a:schemeClr>
            </a:outerShdw>
          </a:effectLst>
        </p:spPr>
        <p:txBody>
          <a:bodyPr lIns="486000" tIns="972000" rIns="486000" bIns="1800000" anchor="t" anchorCtr="0"/>
          <a:lstStyle>
            <a:lvl1pPr algn="l">
              <a:lnSpc>
                <a:spcPct val="95000"/>
              </a:lnSpc>
              <a:defRPr sz="3200" cap="none" baseline="0"/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000" y="1744428"/>
            <a:ext cx="6328800" cy="288000"/>
          </a:xfrm>
        </p:spPr>
        <p:txBody>
          <a:bodyPr lIns="486000" rIns="48600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 b="0" cap="all" baseline="0"/>
            </a:lvl1pPr>
            <a:lvl2pPr marL="0" indent="0" algn="l">
              <a:buFont typeface="Arial" panose="020B0604020202020204" pitchFamily="34" charset="0"/>
              <a:buChar char="​"/>
              <a:defRPr sz="1600" b="0"/>
            </a:lvl2pPr>
            <a:lvl3pPr marL="0" indent="0" algn="l">
              <a:buFont typeface="Arial" panose="020B0604020202020204" pitchFamily="34" charset="0"/>
              <a:buChar char="​"/>
              <a:defRPr sz="1600" b="0"/>
            </a:lvl3pPr>
            <a:lvl4pPr marL="0" indent="0" algn="l">
              <a:buFont typeface="Arial" panose="020B0604020202020204" pitchFamily="34" charset="0"/>
              <a:buChar char="​"/>
              <a:defRPr sz="1600" b="0"/>
            </a:lvl4pPr>
            <a:lvl5pPr marL="0" indent="0" algn="l">
              <a:buFont typeface="Arial" panose="020B0604020202020204" pitchFamily="34" charset="0"/>
              <a:buChar char="​"/>
              <a:defRPr sz="1600" b="0"/>
            </a:lvl5pPr>
            <a:lvl6pPr marL="0" indent="0" algn="l">
              <a:buFont typeface="Arial" panose="020B0604020202020204" pitchFamily="34" charset="0"/>
              <a:buChar char="​"/>
              <a:defRPr sz="1600" b="0"/>
            </a:lvl6pPr>
            <a:lvl7pPr marL="0" indent="0" algn="l">
              <a:buFont typeface="Arial" panose="020B0604020202020204" pitchFamily="34" charset="0"/>
              <a:buChar char="​"/>
              <a:defRPr sz="1600" b="0"/>
            </a:lvl7pPr>
            <a:lvl8pPr marL="0" indent="0" algn="l">
              <a:buFont typeface="Arial" panose="020B0604020202020204" pitchFamily="34" charset="0"/>
              <a:buChar char="​"/>
              <a:defRPr sz="1600" b="0"/>
            </a:lvl8pPr>
            <a:lvl9pPr marL="0" indent="0" algn="l">
              <a:buFont typeface="Arial" panose="020B0604020202020204" pitchFamily="34" charset="0"/>
              <a:buChar char="​"/>
              <a:defRPr sz="1600" b="0"/>
            </a:lvl9pPr>
          </a:lstStyle>
          <a:p>
            <a:r>
              <a:rPr lang="da-DK" dirty="0"/>
              <a:t>tilføj undertitel 1 linj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97C4516-588C-403E-B742-5FE6AD05CE4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64400" y="4710600"/>
            <a:ext cx="2196000" cy="360000"/>
          </a:xfrm>
          <a:prstGeom prst="roundRect">
            <a:avLst>
              <a:gd name="adj" fmla="val 50000"/>
            </a:avLst>
          </a:prstGeom>
          <a:solidFill>
            <a:srgbClr val="186A32"/>
          </a:solidFill>
        </p:spPr>
        <p:txBody>
          <a:bodyPr lIns="126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CE7AECD1-CD08-4D1B-BAB9-AC91C2FD69E7}" type="datetime3">
              <a:rPr lang="da-DK" smtClean="0"/>
              <a:t>09.04.2026</a:t>
            </a:fld>
            <a:endParaRPr lang="da-DK" dirty="0"/>
          </a:p>
        </p:txBody>
      </p:sp>
      <p:sp>
        <p:nvSpPr>
          <p:cNvPr id="5" name="Pladsholder til billede 21">
            <a:extLst>
              <a:ext uri="{FF2B5EF4-FFF2-40B4-BE49-F238E27FC236}">
                <a16:creationId xmlns:a16="http://schemas.microsoft.com/office/drawing/2014/main" id="{4ACE029A-8252-FBA7-9B22-CFDA61227D7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0098088" y="488149"/>
            <a:ext cx="1598399" cy="1078921"/>
          </a:xfr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4" name="Pladsholder til tekst 5">
            <a:extLst>
              <a:ext uri="{FF2B5EF4-FFF2-40B4-BE49-F238E27FC236}">
                <a16:creationId xmlns:a16="http://schemas.microsoft.com/office/drawing/2014/main" id="{F86DF48F-1C34-4870-F68B-09013EC12E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3546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større og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35">
            <a:extLst>
              <a:ext uri="{FF2B5EF4-FFF2-40B4-BE49-F238E27FC236}">
                <a16:creationId xmlns:a16="http://schemas.microsoft.com/office/drawing/2014/main" id="{1B746FCB-F1E2-6024-7392-578F5EF8344F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46743" t="20626" r="-16240" b="9662"/>
          <a:stretch/>
        </p:blipFill>
        <p:spPr>
          <a:xfrm flipH="1">
            <a:off x="4469198" y="0"/>
            <a:ext cx="7722802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sp>
        <p:nvSpPr>
          <p:cNvPr id="5" name="Rectangle 16">
            <a:extLst>
              <a:ext uri="{FF2B5EF4-FFF2-40B4-BE49-F238E27FC236}">
                <a16:creationId xmlns:a16="http://schemas.microsoft.com/office/drawing/2014/main" id="{FD696293-D78B-A2D8-7860-706A7D618938}"/>
              </a:ext>
            </a:extLst>
          </p:cNvPr>
          <p:cNvSpPr/>
          <p:nvPr userDrawn="1"/>
        </p:nvSpPr>
        <p:spPr>
          <a:xfrm>
            <a:off x="-1" y="0"/>
            <a:ext cx="5318125" cy="6858000"/>
          </a:xfrm>
          <a:prstGeom prst="rect">
            <a:avLst/>
          </a:prstGeom>
          <a:gradFill>
            <a:gsLst>
              <a:gs pos="0">
                <a:srgbClr val="249446"/>
              </a:gs>
              <a:gs pos="100000">
                <a:srgbClr val="00451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noProof="0" err="1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9B00571B-9A22-DF80-7FEB-6AFD4390687F}"/>
              </a:ext>
            </a:extLst>
          </p:cNvPr>
          <p:cNvSpPr/>
          <p:nvPr userDrawn="1"/>
        </p:nvSpPr>
        <p:spPr>
          <a:xfrm>
            <a:off x="539750" y="539750"/>
            <a:ext cx="4778375" cy="248184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noProof="0" dirty="0" err="1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318125" y="0"/>
            <a:ext cx="6875076" cy="3021596"/>
          </a:xfrm>
          <a:solidFill>
            <a:schemeClr val="accent3"/>
          </a:solidFill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da-DK" dirty="0"/>
              <a:t>Klik på rammen for at Indsæt mørkt billede via Templafy fanen</a:t>
            </a:r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DE875E-CE70-411F-B255-D516DBDF49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17C46E79-ABB1-4BD8-AB72-6E0E6DE2D73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5495B75B-A709-A3DF-0A58-7A59DB9211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2163" y="758825"/>
            <a:ext cx="4165600" cy="467809"/>
          </a:xfrm>
        </p:spPr>
        <p:txBody>
          <a:bodyPr/>
          <a:lstStyle>
            <a:lvl1pPr marL="0" indent="0">
              <a:buFont typeface="+mj-lt"/>
              <a:buNone/>
              <a:defRPr sz="3200" b="1">
                <a:latin typeface="+mj-lt"/>
              </a:defRPr>
            </a:lvl1pPr>
          </a:lstStyle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17" name="Pladsholder til tekst 15">
            <a:extLst>
              <a:ext uri="{FF2B5EF4-FFF2-40B4-BE49-F238E27FC236}">
                <a16:creationId xmlns:a16="http://schemas.microsoft.com/office/drawing/2014/main" id="{2B8EFF6B-1A81-36A4-952B-F578D95B94B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92163" y="1372142"/>
            <a:ext cx="4165600" cy="1348756"/>
          </a:xfrm>
        </p:spPr>
        <p:txBody>
          <a:bodyPr/>
          <a:lstStyle>
            <a:lvl1pPr marL="0" indent="0">
              <a:buFont typeface="+mj-lt"/>
              <a:buNone/>
              <a:defRPr sz="1800" b="0">
                <a:latin typeface="+mn-lt"/>
              </a:defRPr>
            </a:lvl1pPr>
          </a:lstStyle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18" name="Pladsholder til tekst 15">
            <a:extLst>
              <a:ext uri="{FF2B5EF4-FFF2-40B4-BE49-F238E27FC236}">
                <a16:creationId xmlns:a16="http://schemas.microsoft.com/office/drawing/2014/main" id="{34219D5F-C069-75B7-F9AE-7D3B029E67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32875" y="3535477"/>
            <a:ext cx="5120888" cy="2422411"/>
          </a:xfrm>
        </p:spPr>
        <p:txBody>
          <a:bodyPr/>
          <a:lstStyle>
            <a:lvl1pPr marL="0" indent="0">
              <a:buFont typeface="+mj-lt"/>
              <a:buNone/>
              <a:defRPr sz="1800" b="0">
                <a:latin typeface="+mn-lt"/>
              </a:defRPr>
            </a:lvl1pPr>
          </a:lstStyle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19" name="Pladsholder til billede 21">
            <a:extLst>
              <a:ext uri="{FF2B5EF4-FFF2-40B4-BE49-F238E27FC236}">
                <a16:creationId xmlns:a16="http://schemas.microsoft.com/office/drawing/2014/main" id="{93577EF5-2FB5-0E0F-047E-A9294A82A46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0098088" y="488149"/>
            <a:ext cx="1598399" cy="1078921"/>
          </a:xfr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3E761473-CA75-DBF0-C6E8-F5B80374089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3194"/>
            <a:ext cx="12192000" cy="533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6812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35">
            <a:extLst>
              <a:ext uri="{FF2B5EF4-FFF2-40B4-BE49-F238E27FC236}">
                <a16:creationId xmlns:a16="http://schemas.microsoft.com/office/drawing/2014/main" id="{7D332FC0-61FD-4335-3C5A-6520480092C2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 l="13957" t="20626" b="9662"/>
          <a:stretch/>
        </p:blipFill>
        <p:spPr>
          <a:xfrm flipH="1">
            <a:off x="2630488" y="0"/>
            <a:ext cx="9561512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0820D737-DC96-8C57-3E26-6494132C93E1}"/>
              </a:ext>
            </a:extLst>
          </p:cNvPr>
          <p:cNvSpPr/>
          <p:nvPr userDrawn="1"/>
        </p:nvSpPr>
        <p:spPr>
          <a:xfrm>
            <a:off x="0" y="0"/>
            <a:ext cx="5318125" cy="4735033"/>
          </a:xfrm>
          <a:prstGeom prst="rect">
            <a:avLst/>
          </a:prstGeom>
          <a:gradFill>
            <a:gsLst>
              <a:gs pos="0">
                <a:srgbClr val="249446"/>
              </a:gs>
              <a:gs pos="100000">
                <a:srgbClr val="00451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noProof="0" dirty="0" err="1"/>
          </a:p>
        </p:txBody>
      </p:sp>
      <p:sp>
        <p:nvSpPr>
          <p:cNvPr id="58" name="Kombinationstegning 57">
            <a:extLst>
              <a:ext uri="{FF2B5EF4-FFF2-40B4-BE49-F238E27FC236}">
                <a16:creationId xmlns:a16="http://schemas.microsoft.com/office/drawing/2014/main" id="{53FAA2AB-0355-88C8-1F57-237190D5F1BA}"/>
              </a:ext>
            </a:extLst>
          </p:cNvPr>
          <p:cNvSpPr/>
          <p:nvPr userDrawn="1"/>
        </p:nvSpPr>
        <p:spPr>
          <a:xfrm>
            <a:off x="539750" y="1708149"/>
            <a:ext cx="11116883" cy="4231672"/>
          </a:xfrm>
          <a:custGeom>
            <a:avLst/>
            <a:gdLst>
              <a:gd name="connsiteX0" fmla="*/ 3816298 w 11116883"/>
              <a:gd name="connsiteY0" fmla="*/ 2320007 h 4231672"/>
              <a:gd name="connsiteX1" fmla="*/ 7286193 w 11116883"/>
              <a:gd name="connsiteY1" fmla="*/ 2320007 h 4231672"/>
              <a:gd name="connsiteX2" fmla="*/ 7286193 w 11116883"/>
              <a:gd name="connsiteY2" fmla="*/ 4231672 h 4231672"/>
              <a:gd name="connsiteX3" fmla="*/ 3816298 w 11116883"/>
              <a:gd name="connsiteY3" fmla="*/ 4231672 h 4231672"/>
              <a:gd name="connsiteX4" fmla="*/ 0 w 11116883"/>
              <a:gd name="connsiteY4" fmla="*/ 2320007 h 4231672"/>
              <a:gd name="connsiteX5" fmla="*/ 3469895 w 11116883"/>
              <a:gd name="connsiteY5" fmla="*/ 2320007 h 4231672"/>
              <a:gd name="connsiteX6" fmla="*/ 3469895 w 11116883"/>
              <a:gd name="connsiteY6" fmla="*/ 4231672 h 4231672"/>
              <a:gd name="connsiteX7" fmla="*/ 0 w 11116883"/>
              <a:gd name="connsiteY7" fmla="*/ 4231672 h 4231672"/>
              <a:gd name="connsiteX8" fmla="*/ 7646988 w 11116883"/>
              <a:gd name="connsiteY8" fmla="*/ 0 h 4231672"/>
              <a:gd name="connsiteX9" fmla="*/ 11116883 w 11116883"/>
              <a:gd name="connsiteY9" fmla="*/ 0 h 4231672"/>
              <a:gd name="connsiteX10" fmla="*/ 11116883 w 11116883"/>
              <a:gd name="connsiteY10" fmla="*/ 1911665 h 4231672"/>
              <a:gd name="connsiteX11" fmla="*/ 7646988 w 11116883"/>
              <a:gd name="connsiteY11" fmla="*/ 1911665 h 4231672"/>
              <a:gd name="connsiteX12" fmla="*/ 3816298 w 11116883"/>
              <a:gd name="connsiteY12" fmla="*/ 0 h 4231672"/>
              <a:gd name="connsiteX13" fmla="*/ 7286193 w 11116883"/>
              <a:gd name="connsiteY13" fmla="*/ 0 h 4231672"/>
              <a:gd name="connsiteX14" fmla="*/ 7286193 w 11116883"/>
              <a:gd name="connsiteY14" fmla="*/ 1911665 h 4231672"/>
              <a:gd name="connsiteX15" fmla="*/ 3816298 w 11116883"/>
              <a:gd name="connsiteY15" fmla="*/ 1911665 h 4231672"/>
              <a:gd name="connsiteX16" fmla="*/ 0 w 11116883"/>
              <a:gd name="connsiteY16" fmla="*/ 0 h 4231672"/>
              <a:gd name="connsiteX17" fmla="*/ 3469895 w 11116883"/>
              <a:gd name="connsiteY17" fmla="*/ 0 h 4231672"/>
              <a:gd name="connsiteX18" fmla="*/ 3469895 w 11116883"/>
              <a:gd name="connsiteY18" fmla="*/ 1911665 h 4231672"/>
              <a:gd name="connsiteX19" fmla="*/ 0 w 11116883"/>
              <a:gd name="connsiteY19" fmla="*/ 1911665 h 4231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116883" h="4231672">
                <a:moveTo>
                  <a:pt x="3816298" y="2320007"/>
                </a:moveTo>
                <a:lnTo>
                  <a:pt x="7286193" y="2320007"/>
                </a:lnTo>
                <a:lnTo>
                  <a:pt x="7286193" y="4231672"/>
                </a:lnTo>
                <a:lnTo>
                  <a:pt x="3816298" y="4231672"/>
                </a:lnTo>
                <a:close/>
                <a:moveTo>
                  <a:pt x="0" y="2320007"/>
                </a:moveTo>
                <a:lnTo>
                  <a:pt x="3469895" y="2320007"/>
                </a:lnTo>
                <a:lnTo>
                  <a:pt x="3469895" y="4231672"/>
                </a:lnTo>
                <a:lnTo>
                  <a:pt x="0" y="4231672"/>
                </a:lnTo>
                <a:close/>
                <a:moveTo>
                  <a:pt x="7646988" y="0"/>
                </a:moveTo>
                <a:lnTo>
                  <a:pt x="11116883" y="0"/>
                </a:lnTo>
                <a:lnTo>
                  <a:pt x="11116883" y="1911665"/>
                </a:lnTo>
                <a:lnTo>
                  <a:pt x="7646988" y="1911665"/>
                </a:lnTo>
                <a:close/>
                <a:moveTo>
                  <a:pt x="3816298" y="0"/>
                </a:moveTo>
                <a:lnTo>
                  <a:pt x="7286193" y="0"/>
                </a:lnTo>
                <a:lnTo>
                  <a:pt x="7286193" y="1911665"/>
                </a:lnTo>
                <a:lnTo>
                  <a:pt x="3816298" y="1911665"/>
                </a:lnTo>
                <a:close/>
                <a:moveTo>
                  <a:pt x="0" y="0"/>
                </a:moveTo>
                <a:lnTo>
                  <a:pt x="3469895" y="0"/>
                </a:lnTo>
                <a:lnTo>
                  <a:pt x="3469895" y="1911665"/>
                </a:lnTo>
                <a:lnTo>
                  <a:pt x="0" y="191166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da-DK" noProof="0" dirty="0" err="1"/>
          </a:p>
        </p:txBody>
      </p:sp>
      <p:sp>
        <p:nvSpPr>
          <p:cNvPr id="57" name="Pladsholder til billede 56">
            <a:extLst>
              <a:ext uri="{FF2B5EF4-FFF2-40B4-BE49-F238E27FC236}">
                <a16:creationId xmlns:a16="http://schemas.microsoft.com/office/drawing/2014/main" id="{44204A7B-0D44-5DDB-6A87-14326D880732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5318125" y="2894338"/>
            <a:ext cx="6873875" cy="3963661"/>
          </a:xfrm>
          <a:custGeom>
            <a:avLst/>
            <a:gdLst>
              <a:gd name="connsiteX0" fmla="*/ 2507818 w 6873875"/>
              <a:gd name="connsiteY0" fmla="*/ 0 h 3963661"/>
              <a:gd name="connsiteX1" fmla="*/ 2868613 w 6873875"/>
              <a:gd name="connsiteY1" fmla="*/ 0 h 3963661"/>
              <a:gd name="connsiteX2" fmla="*/ 2868613 w 6873875"/>
              <a:gd name="connsiteY2" fmla="*/ 725476 h 3963661"/>
              <a:gd name="connsiteX3" fmla="*/ 6338508 w 6873875"/>
              <a:gd name="connsiteY3" fmla="*/ 725476 h 3963661"/>
              <a:gd name="connsiteX4" fmla="*/ 6338508 w 6873875"/>
              <a:gd name="connsiteY4" fmla="*/ 0 h 3963661"/>
              <a:gd name="connsiteX5" fmla="*/ 6873875 w 6873875"/>
              <a:gd name="connsiteY5" fmla="*/ 0 h 3963661"/>
              <a:gd name="connsiteX6" fmla="*/ 6873875 w 6873875"/>
              <a:gd name="connsiteY6" fmla="*/ 3963661 h 3963661"/>
              <a:gd name="connsiteX7" fmla="*/ 0 w 6873875"/>
              <a:gd name="connsiteY7" fmla="*/ 3963661 h 3963661"/>
              <a:gd name="connsiteX8" fmla="*/ 0 w 6873875"/>
              <a:gd name="connsiteY8" fmla="*/ 3045483 h 3963661"/>
              <a:gd name="connsiteX9" fmla="*/ 2507818 w 6873875"/>
              <a:gd name="connsiteY9" fmla="*/ 3045483 h 3963661"/>
              <a:gd name="connsiteX10" fmla="*/ 2507818 w 6873875"/>
              <a:gd name="connsiteY10" fmla="*/ 1133818 h 3963661"/>
              <a:gd name="connsiteX11" fmla="*/ 0 w 6873875"/>
              <a:gd name="connsiteY11" fmla="*/ 1133818 h 3963661"/>
              <a:gd name="connsiteX12" fmla="*/ 0 w 6873875"/>
              <a:gd name="connsiteY12" fmla="*/ 725476 h 3963661"/>
              <a:gd name="connsiteX13" fmla="*/ 2507818 w 6873875"/>
              <a:gd name="connsiteY13" fmla="*/ 725476 h 3963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873875" h="3963661">
                <a:moveTo>
                  <a:pt x="2507818" y="0"/>
                </a:moveTo>
                <a:lnTo>
                  <a:pt x="2868613" y="0"/>
                </a:lnTo>
                <a:lnTo>
                  <a:pt x="2868613" y="725476"/>
                </a:lnTo>
                <a:lnTo>
                  <a:pt x="6338508" y="725476"/>
                </a:lnTo>
                <a:lnTo>
                  <a:pt x="6338508" y="0"/>
                </a:lnTo>
                <a:lnTo>
                  <a:pt x="6873875" y="0"/>
                </a:lnTo>
                <a:lnTo>
                  <a:pt x="6873875" y="3963661"/>
                </a:lnTo>
                <a:lnTo>
                  <a:pt x="0" y="3963661"/>
                </a:lnTo>
                <a:lnTo>
                  <a:pt x="0" y="3045483"/>
                </a:lnTo>
                <a:lnTo>
                  <a:pt x="2507818" y="3045483"/>
                </a:lnTo>
                <a:lnTo>
                  <a:pt x="2507818" y="1133818"/>
                </a:lnTo>
                <a:lnTo>
                  <a:pt x="0" y="1133818"/>
                </a:lnTo>
                <a:lnTo>
                  <a:pt x="0" y="725476"/>
                </a:lnTo>
                <a:lnTo>
                  <a:pt x="2507818" y="72547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65F358-3D0B-4C30-94C6-9BC8E1B3EA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40000"/>
            <a:ext cx="4417763" cy="93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agenda titel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96E1D93-10AC-2709-DD2C-9A03C0438E4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sp>
        <p:nvSpPr>
          <p:cNvPr id="18" name="Pladsholder til billede 21">
            <a:extLst>
              <a:ext uri="{FF2B5EF4-FFF2-40B4-BE49-F238E27FC236}">
                <a16:creationId xmlns:a16="http://schemas.microsoft.com/office/drawing/2014/main" id="{DC3C2B0C-2604-2DDB-93A1-8510877D3D9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0098088" y="488149"/>
            <a:ext cx="1598399" cy="1078921"/>
          </a:xfrm>
          <a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27" name="Pladsholder til tekst 26">
            <a:extLst>
              <a:ext uri="{FF2B5EF4-FFF2-40B4-BE49-F238E27FC236}">
                <a16:creationId xmlns:a16="http://schemas.microsoft.com/office/drawing/2014/main" id="{886B803C-5EFD-447B-729D-822BD6FE190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5714" y="1719263"/>
            <a:ext cx="3056373" cy="327527"/>
          </a:xfrm>
        </p:spPr>
        <p:txBody>
          <a:bodyPr lIns="180000" tIns="180000" rIns="180000" bIns="0"/>
          <a:lstStyle>
            <a:lvl1pPr marL="0" indent="0">
              <a:buNone/>
              <a:defRPr sz="1200" b="1" cap="all" baseline="0"/>
            </a:lvl1pPr>
          </a:lstStyle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28" name="Pladsholder til tekst 26">
            <a:extLst>
              <a:ext uri="{FF2B5EF4-FFF2-40B4-BE49-F238E27FC236}">
                <a16:creationId xmlns:a16="http://schemas.microsoft.com/office/drawing/2014/main" id="{B89B01EC-AA73-5499-2F95-87051DE127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5714" y="2046790"/>
            <a:ext cx="3056373" cy="1573025"/>
          </a:xfrm>
        </p:spPr>
        <p:txBody>
          <a:bodyPr lIns="180000" tIns="180000" rIns="180000" bIns="0"/>
          <a:lstStyle>
            <a:lvl1pPr marL="0" indent="0">
              <a:buNone/>
              <a:defRPr sz="1000" b="0"/>
            </a:lvl1pPr>
          </a:lstStyle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29" name="Pladsholder til tekst 26">
            <a:extLst>
              <a:ext uri="{FF2B5EF4-FFF2-40B4-BE49-F238E27FC236}">
                <a16:creationId xmlns:a16="http://schemas.microsoft.com/office/drawing/2014/main" id="{AEDBC586-3512-F21C-F796-4825E2A8CD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9569" y="1719263"/>
            <a:ext cx="3056373" cy="327527"/>
          </a:xfrm>
        </p:spPr>
        <p:txBody>
          <a:bodyPr lIns="180000" tIns="180000" rIns="180000" bIns="0"/>
          <a:lstStyle>
            <a:lvl1pPr marL="0" indent="0">
              <a:buNone/>
              <a:defRPr sz="1200" b="1" cap="all" baseline="0"/>
            </a:lvl1pPr>
          </a:lstStyle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30" name="Pladsholder til tekst 26">
            <a:extLst>
              <a:ext uri="{FF2B5EF4-FFF2-40B4-BE49-F238E27FC236}">
                <a16:creationId xmlns:a16="http://schemas.microsoft.com/office/drawing/2014/main" id="{D605236A-C1D4-1DB4-8A96-879D89D31C9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69569" y="2046790"/>
            <a:ext cx="3056373" cy="1573025"/>
          </a:xfrm>
        </p:spPr>
        <p:txBody>
          <a:bodyPr lIns="180000" tIns="180000" rIns="180000" bIns="0"/>
          <a:lstStyle>
            <a:lvl1pPr marL="0" indent="0">
              <a:buNone/>
              <a:defRPr sz="1000" b="0"/>
            </a:lvl1pPr>
          </a:lstStyle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31" name="Pladsholder til tekst 26">
            <a:extLst>
              <a:ext uri="{FF2B5EF4-FFF2-40B4-BE49-F238E27FC236}">
                <a16:creationId xmlns:a16="http://schemas.microsoft.com/office/drawing/2014/main" id="{AB01AAD0-B5E1-CBB2-3B73-6F87693FE2C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585867" y="1719263"/>
            <a:ext cx="3056373" cy="327527"/>
          </a:xfrm>
        </p:spPr>
        <p:txBody>
          <a:bodyPr lIns="180000" tIns="180000" rIns="180000" bIns="0"/>
          <a:lstStyle>
            <a:lvl1pPr marL="0" indent="0">
              <a:buNone/>
              <a:defRPr sz="1200" b="1" cap="all" baseline="0"/>
            </a:lvl1pPr>
          </a:lstStyle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32" name="Pladsholder til tekst 26">
            <a:extLst>
              <a:ext uri="{FF2B5EF4-FFF2-40B4-BE49-F238E27FC236}">
                <a16:creationId xmlns:a16="http://schemas.microsoft.com/office/drawing/2014/main" id="{57C6670D-2E4A-26D7-AD5C-9561D67E0F3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85867" y="2046790"/>
            <a:ext cx="3056373" cy="1573025"/>
          </a:xfrm>
        </p:spPr>
        <p:txBody>
          <a:bodyPr lIns="180000" tIns="180000" rIns="180000" bIns="0"/>
          <a:lstStyle>
            <a:lvl1pPr marL="0" indent="0">
              <a:buNone/>
              <a:defRPr sz="1000" b="0"/>
            </a:lvl1pPr>
          </a:lstStyle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33" name="Pladsholder til tekst 26">
            <a:extLst>
              <a:ext uri="{FF2B5EF4-FFF2-40B4-BE49-F238E27FC236}">
                <a16:creationId xmlns:a16="http://schemas.microsoft.com/office/drawing/2014/main" id="{7774F6DF-C4E4-BEF3-2005-42C23BCAAF4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45714" y="4039269"/>
            <a:ext cx="3056373" cy="327527"/>
          </a:xfrm>
        </p:spPr>
        <p:txBody>
          <a:bodyPr lIns="180000" tIns="180000" rIns="180000" bIns="0"/>
          <a:lstStyle>
            <a:lvl1pPr marL="0" indent="0">
              <a:buNone/>
              <a:defRPr sz="1200" b="1" cap="all" baseline="0"/>
            </a:lvl1pPr>
          </a:lstStyle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34" name="Pladsholder til tekst 26">
            <a:extLst>
              <a:ext uri="{FF2B5EF4-FFF2-40B4-BE49-F238E27FC236}">
                <a16:creationId xmlns:a16="http://schemas.microsoft.com/office/drawing/2014/main" id="{BD1C30BF-F8E1-E521-40FB-B8632ABD839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5714" y="4366796"/>
            <a:ext cx="3056373" cy="1573025"/>
          </a:xfrm>
        </p:spPr>
        <p:txBody>
          <a:bodyPr lIns="180000" tIns="180000" rIns="180000" bIns="0"/>
          <a:lstStyle>
            <a:lvl1pPr marL="0" indent="0">
              <a:buNone/>
              <a:defRPr sz="1000" b="0"/>
            </a:lvl1pPr>
          </a:lstStyle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35" name="Pladsholder til tekst 26">
            <a:extLst>
              <a:ext uri="{FF2B5EF4-FFF2-40B4-BE49-F238E27FC236}">
                <a16:creationId xmlns:a16="http://schemas.microsoft.com/office/drawing/2014/main" id="{DAD37A75-A1A5-1570-90EA-FB97E3B2C99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69569" y="4039269"/>
            <a:ext cx="3056374" cy="327527"/>
          </a:xfrm>
        </p:spPr>
        <p:txBody>
          <a:bodyPr lIns="180000" tIns="180000" rIns="180000" bIns="0"/>
          <a:lstStyle>
            <a:lvl1pPr marL="0" indent="0">
              <a:buNone/>
              <a:defRPr sz="1200" b="1" cap="all" baseline="0"/>
            </a:lvl1pPr>
          </a:lstStyle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36" name="Pladsholder til tekst 26">
            <a:extLst>
              <a:ext uri="{FF2B5EF4-FFF2-40B4-BE49-F238E27FC236}">
                <a16:creationId xmlns:a16="http://schemas.microsoft.com/office/drawing/2014/main" id="{0B7517B4-9CB5-7818-0640-0D18BBA4572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69569" y="4366796"/>
            <a:ext cx="3056374" cy="1573025"/>
          </a:xfrm>
        </p:spPr>
        <p:txBody>
          <a:bodyPr lIns="180000" tIns="180000" rIns="180000" bIns="0"/>
          <a:lstStyle>
            <a:lvl1pPr marL="0" indent="0">
              <a:buNone/>
              <a:defRPr sz="1000" b="0"/>
            </a:lvl1pPr>
          </a:lstStyle>
          <a:p>
            <a:pPr lvl="0"/>
            <a:r>
              <a:rPr lang="da-DK" dirty="0"/>
              <a:t>Klik for at redigere</a:t>
            </a:r>
          </a:p>
        </p:txBody>
      </p:sp>
      <p:pic>
        <p:nvPicPr>
          <p:cNvPr id="84" name="Graphic 7">
            <a:extLst>
              <a:ext uri="{FF2B5EF4-FFF2-40B4-BE49-F238E27FC236}">
                <a16:creationId xmlns:a16="http://schemas.microsoft.com/office/drawing/2014/main" id="{EB93DE8D-FCE2-D1C1-86E2-48EE766A1EE8}"/>
              </a:ext>
            </a:extLst>
          </p:cNvPr>
          <p:cNvPicPr/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6236" y="1803527"/>
            <a:ext cx="269478" cy="269478"/>
          </a:xfrm>
          <a:prstGeom prst="rect">
            <a:avLst/>
          </a:prstGeom>
        </p:spPr>
      </p:pic>
      <p:grpSp>
        <p:nvGrpSpPr>
          <p:cNvPr id="85" name="Group 52">
            <a:extLst>
              <a:ext uri="{FF2B5EF4-FFF2-40B4-BE49-F238E27FC236}">
                <a16:creationId xmlns:a16="http://schemas.microsoft.com/office/drawing/2014/main" id="{C6D1413C-1B51-F00B-60F5-81BE3355BA86}"/>
              </a:ext>
            </a:extLst>
          </p:cNvPr>
          <p:cNvGrpSpPr/>
          <p:nvPr userDrawn="1"/>
        </p:nvGrpSpPr>
        <p:grpSpPr>
          <a:xfrm>
            <a:off x="4594032" y="1803527"/>
            <a:ext cx="142458" cy="388528"/>
            <a:chOff x="12008539" y="2352400"/>
            <a:chExt cx="104778" cy="285762"/>
          </a:xfrm>
        </p:grpSpPr>
        <p:sp>
          <p:nvSpPr>
            <p:cNvPr id="86" name="Freeform: Shape 53">
              <a:extLst>
                <a:ext uri="{FF2B5EF4-FFF2-40B4-BE49-F238E27FC236}">
                  <a16:creationId xmlns:a16="http://schemas.microsoft.com/office/drawing/2014/main" id="{CF49D23D-32CB-E570-75F6-D12F26A290D9}"/>
                </a:ext>
              </a:extLst>
            </p:cNvPr>
            <p:cNvSpPr/>
            <p:nvPr/>
          </p:nvSpPr>
          <p:spPr>
            <a:xfrm>
              <a:off x="12008539" y="2419075"/>
              <a:ext cx="104778" cy="219075"/>
            </a:xfrm>
            <a:custGeom>
              <a:avLst/>
              <a:gdLst>
                <a:gd name="connsiteX0" fmla="*/ 4766 w 104778"/>
                <a:gd name="connsiteY0" fmla="*/ 219075 h 219075"/>
                <a:gd name="connsiteX1" fmla="*/ 3908 w 104778"/>
                <a:gd name="connsiteY1" fmla="*/ 218999 h 219075"/>
                <a:gd name="connsiteX2" fmla="*/ 79 w 104778"/>
                <a:gd name="connsiteY2" fmla="*/ 213465 h 219075"/>
                <a:gd name="connsiteX3" fmla="*/ 19129 w 104778"/>
                <a:gd name="connsiteY3" fmla="*/ 108690 h 219075"/>
                <a:gd name="connsiteX4" fmla="*/ 19063 w 104778"/>
                <a:gd name="connsiteY4" fmla="*/ 66199 h 219075"/>
                <a:gd name="connsiteX5" fmla="*/ 3 w 104778"/>
                <a:gd name="connsiteY5" fmla="*/ 42863 h 219075"/>
                <a:gd name="connsiteX6" fmla="*/ 3 w 104778"/>
                <a:gd name="connsiteY6" fmla="*/ 28575 h 219075"/>
                <a:gd name="connsiteX7" fmla="*/ 28578 w 104778"/>
                <a:gd name="connsiteY7" fmla="*/ 0 h 219075"/>
                <a:gd name="connsiteX8" fmla="*/ 71441 w 104778"/>
                <a:gd name="connsiteY8" fmla="*/ 0 h 219075"/>
                <a:gd name="connsiteX9" fmla="*/ 104778 w 104778"/>
                <a:gd name="connsiteY9" fmla="*/ 33338 h 219075"/>
                <a:gd name="connsiteX10" fmla="*/ 104778 w 104778"/>
                <a:gd name="connsiteY10" fmla="*/ 42863 h 219075"/>
                <a:gd name="connsiteX11" fmla="*/ 101568 w 104778"/>
                <a:gd name="connsiteY11" fmla="*/ 54797 h 219075"/>
                <a:gd name="connsiteX12" fmla="*/ 85728 w 104778"/>
                <a:gd name="connsiteY12" fmla="*/ 66189 h 219075"/>
                <a:gd name="connsiteX13" fmla="*/ 85728 w 104778"/>
                <a:gd name="connsiteY13" fmla="*/ 214313 h 219075"/>
                <a:gd name="connsiteX14" fmla="*/ 80966 w 104778"/>
                <a:gd name="connsiteY14" fmla="*/ 219075 h 219075"/>
                <a:gd name="connsiteX15" fmla="*/ 76203 w 104778"/>
                <a:gd name="connsiteY15" fmla="*/ 214313 h 219075"/>
                <a:gd name="connsiteX16" fmla="*/ 76203 w 104778"/>
                <a:gd name="connsiteY16" fmla="*/ 61913 h 219075"/>
                <a:gd name="connsiteX17" fmla="*/ 80966 w 104778"/>
                <a:gd name="connsiteY17" fmla="*/ 57150 h 219075"/>
                <a:gd name="connsiteX18" fmla="*/ 93329 w 104778"/>
                <a:gd name="connsiteY18" fmla="*/ 50016 h 219075"/>
                <a:gd name="connsiteX19" fmla="*/ 95253 w 104778"/>
                <a:gd name="connsiteY19" fmla="*/ 42863 h 219075"/>
                <a:gd name="connsiteX20" fmla="*/ 95253 w 104778"/>
                <a:gd name="connsiteY20" fmla="*/ 33338 h 219075"/>
                <a:gd name="connsiteX21" fmla="*/ 71441 w 104778"/>
                <a:gd name="connsiteY21" fmla="*/ 9525 h 219075"/>
                <a:gd name="connsiteX22" fmla="*/ 28578 w 104778"/>
                <a:gd name="connsiteY22" fmla="*/ 9525 h 219075"/>
                <a:gd name="connsiteX23" fmla="*/ 9528 w 104778"/>
                <a:gd name="connsiteY23" fmla="*/ 28575 h 219075"/>
                <a:gd name="connsiteX24" fmla="*/ 9528 w 104778"/>
                <a:gd name="connsiteY24" fmla="*/ 42863 h 219075"/>
                <a:gd name="connsiteX25" fmla="*/ 23816 w 104778"/>
                <a:gd name="connsiteY25" fmla="*/ 57150 h 219075"/>
                <a:gd name="connsiteX26" fmla="*/ 28578 w 104778"/>
                <a:gd name="connsiteY26" fmla="*/ 61913 h 219075"/>
                <a:gd name="connsiteX27" fmla="*/ 28578 w 104778"/>
                <a:gd name="connsiteY27" fmla="*/ 109538 h 219075"/>
                <a:gd name="connsiteX28" fmla="*/ 9452 w 104778"/>
                <a:gd name="connsiteY28" fmla="*/ 215160 h 219075"/>
                <a:gd name="connsiteX29" fmla="*/ 4766 w 104778"/>
                <a:gd name="connsiteY29" fmla="*/ 219075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4778" h="219075">
                  <a:moveTo>
                    <a:pt x="4766" y="219075"/>
                  </a:moveTo>
                  <a:cubicBezTo>
                    <a:pt x="4480" y="219075"/>
                    <a:pt x="4194" y="219056"/>
                    <a:pt x="3908" y="218999"/>
                  </a:cubicBezTo>
                  <a:cubicBezTo>
                    <a:pt x="1318" y="218532"/>
                    <a:pt x="-397" y="216046"/>
                    <a:pt x="79" y="213465"/>
                  </a:cubicBezTo>
                  <a:lnTo>
                    <a:pt x="19129" y="108690"/>
                  </a:lnTo>
                  <a:lnTo>
                    <a:pt x="19063" y="66199"/>
                  </a:lnTo>
                  <a:cubicBezTo>
                    <a:pt x="8195" y="63989"/>
                    <a:pt x="3" y="54369"/>
                    <a:pt x="3" y="42863"/>
                  </a:cubicBezTo>
                  <a:lnTo>
                    <a:pt x="3" y="28575"/>
                  </a:lnTo>
                  <a:cubicBezTo>
                    <a:pt x="3" y="12821"/>
                    <a:pt x="12824" y="0"/>
                    <a:pt x="28578" y="0"/>
                  </a:cubicBezTo>
                  <a:lnTo>
                    <a:pt x="71441" y="0"/>
                  </a:lnTo>
                  <a:cubicBezTo>
                    <a:pt x="89824" y="0"/>
                    <a:pt x="104778" y="14954"/>
                    <a:pt x="104778" y="33338"/>
                  </a:cubicBezTo>
                  <a:lnTo>
                    <a:pt x="104778" y="42863"/>
                  </a:lnTo>
                  <a:cubicBezTo>
                    <a:pt x="104778" y="47063"/>
                    <a:pt x="103673" y="51197"/>
                    <a:pt x="101568" y="54797"/>
                  </a:cubicBezTo>
                  <a:cubicBezTo>
                    <a:pt x="98130" y="60722"/>
                    <a:pt x="92310" y="64837"/>
                    <a:pt x="85728" y="66189"/>
                  </a:cubicBezTo>
                  <a:lnTo>
                    <a:pt x="85728" y="214313"/>
                  </a:lnTo>
                  <a:cubicBezTo>
                    <a:pt x="85728" y="216941"/>
                    <a:pt x="83595" y="219075"/>
                    <a:pt x="80966" y="219075"/>
                  </a:cubicBezTo>
                  <a:cubicBezTo>
                    <a:pt x="78337" y="219075"/>
                    <a:pt x="76203" y="216941"/>
                    <a:pt x="76203" y="214313"/>
                  </a:cubicBezTo>
                  <a:lnTo>
                    <a:pt x="76203" y="61913"/>
                  </a:lnTo>
                  <a:cubicBezTo>
                    <a:pt x="76203" y="59284"/>
                    <a:pt x="78337" y="57150"/>
                    <a:pt x="80966" y="57150"/>
                  </a:cubicBezTo>
                  <a:cubicBezTo>
                    <a:pt x="86043" y="57150"/>
                    <a:pt x="90786" y="54416"/>
                    <a:pt x="93329" y="50016"/>
                  </a:cubicBezTo>
                  <a:cubicBezTo>
                    <a:pt x="94586" y="47854"/>
                    <a:pt x="95253" y="45387"/>
                    <a:pt x="95253" y="42863"/>
                  </a:cubicBezTo>
                  <a:lnTo>
                    <a:pt x="95253" y="33338"/>
                  </a:lnTo>
                  <a:cubicBezTo>
                    <a:pt x="95253" y="20212"/>
                    <a:pt x="84566" y="9525"/>
                    <a:pt x="71441" y="9525"/>
                  </a:cubicBezTo>
                  <a:lnTo>
                    <a:pt x="28578" y="9525"/>
                  </a:lnTo>
                  <a:cubicBezTo>
                    <a:pt x="18072" y="9525"/>
                    <a:pt x="9528" y="18069"/>
                    <a:pt x="9528" y="28575"/>
                  </a:cubicBezTo>
                  <a:lnTo>
                    <a:pt x="9528" y="42863"/>
                  </a:lnTo>
                  <a:cubicBezTo>
                    <a:pt x="9528" y="50740"/>
                    <a:pt x="15939" y="57150"/>
                    <a:pt x="23816" y="57150"/>
                  </a:cubicBezTo>
                  <a:cubicBezTo>
                    <a:pt x="26445" y="57150"/>
                    <a:pt x="28578" y="59284"/>
                    <a:pt x="28578" y="61913"/>
                  </a:cubicBezTo>
                  <a:lnTo>
                    <a:pt x="28578" y="109538"/>
                  </a:lnTo>
                  <a:lnTo>
                    <a:pt x="9452" y="215160"/>
                  </a:lnTo>
                  <a:cubicBezTo>
                    <a:pt x="9033" y="217465"/>
                    <a:pt x="7033" y="219075"/>
                    <a:pt x="4766" y="219075"/>
                  </a:cubicBezTo>
                  <a:close/>
                </a:path>
              </a:pathLst>
            </a:custGeom>
            <a:solidFill>
              <a:srgbClr val="2632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54">
              <a:extLst>
                <a:ext uri="{FF2B5EF4-FFF2-40B4-BE49-F238E27FC236}">
                  <a16:creationId xmlns:a16="http://schemas.microsoft.com/office/drawing/2014/main" id="{788F51B3-D880-E19A-2131-CDCC7D3F9C87}"/>
                </a:ext>
              </a:extLst>
            </p:cNvPr>
            <p:cNvSpPr/>
            <p:nvPr/>
          </p:nvSpPr>
          <p:spPr>
            <a:xfrm>
              <a:off x="12032355" y="2352400"/>
              <a:ext cx="57150" cy="57150"/>
            </a:xfrm>
            <a:custGeom>
              <a:avLst/>
              <a:gdLst>
                <a:gd name="connsiteX0" fmla="*/ 28575 w 57150"/>
                <a:gd name="connsiteY0" fmla="*/ 57150 h 57150"/>
                <a:gd name="connsiteX1" fmla="*/ 0 w 57150"/>
                <a:gd name="connsiteY1" fmla="*/ 28575 h 57150"/>
                <a:gd name="connsiteX2" fmla="*/ 28575 w 57150"/>
                <a:gd name="connsiteY2" fmla="*/ 0 h 57150"/>
                <a:gd name="connsiteX3" fmla="*/ 57150 w 57150"/>
                <a:gd name="connsiteY3" fmla="*/ 28575 h 57150"/>
                <a:gd name="connsiteX4" fmla="*/ 28575 w 57150"/>
                <a:gd name="connsiteY4" fmla="*/ 57150 h 57150"/>
                <a:gd name="connsiteX5" fmla="*/ 28575 w 57150"/>
                <a:gd name="connsiteY5" fmla="*/ 9525 h 57150"/>
                <a:gd name="connsiteX6" fmla="*/ 9525 w 57150"/>
                <a:gd name="connsiteY6" fmla="*/ 28575 h 57150"/>
                <a:gd name="connsiteX7" fmla="*/ 28575 w 57150"/>
                <a:gd name="connsiteY7" fmla="*/ 47625 h 57150"/>
                <a:gd name="connsiteX8" fmla="*/ 47625 w 57150"/>
                <a:gd name="connsiteY8" fmla="*/ 28575 h 57150"/>
                <a:gd name="connsiteX9" fmla="*/ 28575 w 57150"/>
                <a:gd name="connsiteY9" fmla="*/ 952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150" h="57150">
                  <a:moveTo>
                    <a:pt x="28575" y="57150"/>
                  </a:moveTo>
                  <a:cubicBezTo>
                    <a:pt x="12821" y="57150"/>
                    <a:pt x="0" y="44329"/>
                    <a:pt x="0" y="28575"/>
                  </a:cubicBezTo>
                  <a:cubicBezTo>
                    <a:pt x="0" y="12821"/>
                    <a:pt x="12821" y="0"/>
                    <a:pt x="28575" y="0"/>
                  </a:cubicBezTo>
                  <a:cubicBezTo>
                    <a:pt x="44329" y="0"/>
                    <a:pt x="57150" y="12821"/>
                    <a:pt x="57150" y="28575"/>
                  </a:cubicBezTo>
                  <a:cubicBezTo>
                    <a:pt x="57150" y="44329"/>
                    <a:pt x="44329" y="57150"/>
                    <a:pt x="28575" y="57150"/>
                  </a:cubicBezTo>
                  <a:close/>
                  <a:moveTo>
                    <a:pt x="28575" y="9525"/>
                  </a:moveTo>
                  <a:cubicBezTo>
                    <a:pt x="18059" y="9525"/>
                    <a:pt x="9525" y="18069"/>
                    <a:pt x="9525" y="28575"/>
                  </a:cubicBezTo>
                  <a:cubicBezTo>
                    <a:pt x="9525" y="39081"/>
                    <a:pt x="18059" y="47625"/>
                    <a:pt x="28575" y="47625"/>
                  </a:cubicBezTo>
                  <a:cubicBezTo>
                    <a:pt x="39091" y="47625"/>
                    <a:pt x="47625" y="39081"/>
                    <a:pt x="47625" y="28575"/>
                  </a:cubicBezTo>
                  <a:cubicBezTo>
                    <a:pt x="47625" y="18069"/>
                    <a:pt x="39091" y="9525"/>
                    <a:pt x="28575" y="9525"/>
                  </a:cubicBezTo>
                  <a:close/>
                </a:path>
              </a:pathLst>
            </a:custGeom>
            <a:solidFill>
              <a:srgbClr val="2632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72">
              <a:extLst>
                <a:ext uri="{FF2B5EF4-FFF2-40B4-BE49-F238E27FC236}">
                  <a16:creationId xmlns:a16="http://schemas.microsoft.com/office/drawing/2014/main" id="{EB255229-6701-7C0D-5444-1B4667CA55BF}"/>
                </a:ext>
              </a:extLst>
            </p:cNvPr>
            <p:cNvSpPr/>
            <p:nvPr/>
          </p:nvSpPr>
          <p:spPr>
            <a:xfrm>
              <a:off x="12027593" y="2445925"/>
              <a:ext cx="66675" cy="25536"/>
            </a:xfrm>
            <a:custGeom>
              <a:avLst/>
              <a:gdLst>
                <a:gd name="connsiteX0" fmla="*/ 61913 w 66675"/>
                <a:gd name="connsiteY0" fmla="*/ 25537 h 25536"/>
                <a:gd name="connsiteX1" fmla="*/ 57150 w 66675"/>
                <a:gd name="connsiteY1" fmla="*/ 20774 h 25536"/>
                <a:gd name="connsiteX2" fmla="*/ 57150 w 66675"/>
                <a:gd name="connsiteY2" fmla="*/ 17736 h 25536"/>
                <a:gd name="connsiteX3" fmla="*/ 55464 w 66675"/>
                <a:gd name="connsiteY3" fmla="*/ 14097 h 25536"/>
                <a:gd name="connsiteX4" fmla="*/ 51606 w 66675"/>
                <a:gd name="connsiteY4" fmla="*/ 13040 h 25536"/>
                <a:gd name="connsiteX5" fmla="*/ 16640 w 66675"/>
                <a:gd name="connsiteY5" fmla="*/ 18859 h 25536"/>
                <a:gd name="connsiteX6" fmla="*/ 5058 w 66675"/>
                <a:gd name="connsiteY6" fmla="*/ 15678 h 25536"/>
                <a:gd name="connsiteX7" fmla="*/ 0 w 66675"/>
                <a:gd name="connsiteY7" fmla="*/ 4763 h 25536"/>
                <a:gd name="connsiteX8" fmla="*/ 4763 w 66675"/>
                <a:gd name="connsiteY8" fmla="*/ 0 h 25536"/>
                <a:gd name="connsiteX9" fmla="*/ 9525 w 66675"/>
                <a:gd name="connsiteY9" fmla="*/ 4763 h 25536"/>
                <a:gd name="connsiteX10" fmla="*/ 11211 w 66675"/>
                <a:gd name="connsiteY10" fmla="*/ 8401 h 25536"/>
                <a:gd name="connsiteX11" fmla="*/ 15069 w 66675"/>
                <a:gd name="connsiteY11" fmla="*/ 9458 h 25536"/>
                <a:gd name="connsiteX12" fmla="*/ 50035 w 66675"/>
                <a:gd name="connsiteY12" fmla="*/ 3639 h 25536"/>
                <a:gd name="connsiteX13" fmla="*/ 61617 w 66675"/>
                <a:gd name="connsiteY13" fmla="*/ 6820 h 25536"/>
                <a:gd name="connsiteX14" fmla="*/ 66675 w 66675"/>
                <a:gd name="connsiteY14" fmla="*/ 17736 h 25536"/>
                <a:gd name="connsiteX15" fmla="*/ 66675 w 66675"/>
                <a:gd name="connsiteY15" fmla="*/ 20774 h 25536"/>
                <a:gd name="connsiteX16" fmla="*/ 61913 w 66675"/>
                <a:gd name="connsiteY16" fmla="*/ 25537 h 2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675" h="25536">
                  <a:moveTo>
                    <a:pt x="61913" y="25537"/>
                  </a:moveTo>
                  <a:cubicBezTo>
                    <a:pt x="59284" y="25537"/>
                    <a:pt x="57150" y="23403"/>
                    <a:pt x="57150" y="20774"/>
                  </a:cubicBezTo>
                  <a:lnTo>
                    <a:pt x="57150" y="17736"/>
                  </a:lnTo>
                  <a:cubicBezTo>
                    <a:pt x="57150" y="16307"/>
                    <a:pt x="56550" y="15021"/>
                    <a:pt x="55464" y="14097"/>
                  </a:cubicBezTo>
                  <a:cubicBezTo>
                    <a:pt x="54378" y="13173"/>
                    <a:pt x="53007" y="12792"/>
                    <a:pt x="51606" y="13040"/>
                  </a:cubicBezTo>
                  <a:lnTo>
                    <a:pt x="16640" y="18859"/>
                  </a:lnTo>
                  <a:cubicBezTo>
                    <a:pt x="12487" y="19555"/>
                    <a:pt x="8277" y="18393"/>
                    <a:pt x="5058" y="15678"/>
                  </a:cubicBezTo>
                  <a:cubicBezTo>
                    <a:pt x="1838" y="12964"/>
                    <a:pt x="0" y="8982"/>
                    <a:pt x="0" y="4763"/>
                  </a:cubicBezTo>
                  <a:cubicBezTo>
                    <a:pt x="0" y="2134"/>
                    <a:pt x="2134" y="0"/>
                    <a:pt x="4763" y="0"/>
                  </a:cubicBezTo>
                  <a:cubicBezTo>
                    <a:pt x="7391" y="0"/>
                    <a:pt x="9525" y="2134"/>
                    <a:pt x="9525" y="4763"/>
                  </a:cubicBezTo>
                  <a:cubicBezTo>
                    <a:pt x="9525" y="6191"/>
                    <a:pt x="10125" y="7477"/>
                    <a:pt x="11211" y="8401"/>
                  </a:cubicBezTo>
                  <a:cubicBezTo>
                    <a:pt x="12297" y="9325"/>
                    <a:pt x="13668" y="9696"/>
                    <a:pt x="15069" y="9458"/>
                  </a:cubicBezTo>
                  <a:lnTo>
                    <a:pt x="50035" y="3639"/>
                  </a:lnTo>
                  <a:cubicBezTo>
                    <a:pt x="54169" y="2943"/>
                    <a:pt x="58407" y="4105"/>
                    <a:pt x="61617" y="6820"/>
                  </a:cubicBezTo>
                  <a:cubicBezTo>
                    <a:pt x="64837" y="9544"/>
                    <a:pt x="66675" y="13516"/>
                    <a:pt x="66675" y="17736"/>
                  </a:cubicBezTo>
                  <a:lnTo>
                    <a:pt x="66675" y="20774"/>
                  </a:lnTo>
                  <a:cubicBezTo>
                    <a:pt x="66675" y="23403"/>
                    <a:pt x="64541" y="25537"/>
                    <a:pt x="61913" y="25537"/>
                  </a:cubicBezTo>
                  <a:close/>
                </a:path>
              </a:pathLst>
            </a:custGeom>
            <a:solidFill>
              <a:srgbClr val="2632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73">
              <a:extLst>
                <a:ext uri="{FF2B5EF4-FFF2-40B4-BE49-F238E27FC236}">
                  <a16:creationId xmlns:a16="http://schemas.microsoft.com/office/drawing/2014/main" id="{37FB7753-023A-9EE6-9A05-4EC118B6EA1F}"/>
                </a:ext>
              </a:extLst>
            </p:cNvPr>
            <p:cNvSpPr/>
            <p:nvPr/>
          </p:nvSpPr>
          <p:spPr>
            <a:xfrm>
              <a:off x="12027588" y="2519090"/>
              <a:ext cx="47628" cy="119072"/>
            </a:xfrm>
            <a:custGeom>
              <a:avLst/>
              <a:gdLst>
                <a:gd name="connsiteX0" fmla="*/ 4767 w 47628"/>
                <a:gd name="connsiteY0" fmla="*/ 119060 h 119072"/>
                <a:gd name="connsiteX1" fmla="*/ 3567 w 47628"/>
                <a:gd name="connsiteY1" fmla="*/ 118907 h 119072"/>
                <a:gd name="connsiteX2" fmla="*/ 157 w 47628"/>
                <a:gd name="connsiteY2" fmla="*/ 113097 h 119072"/>
                <a:gd name="connsiteX3" fmla="*/ 28732 w 47628"/>
                <a:gd name="connsiteY3" fmla="*/ 3560 h 119072"/>
                <a:gd name="connsiteX4" fmla="*/ 33742 w 47628"/>
                <a:gd name="connsiteY4" fmla="*/ 16 h 119072"/>
                <a:gd name="connsiteX5" fmla="*/ 38085 w 47628"/>
                <a:gd name="connsiteY5" fmla="*/ 4350 h 119072"/>
                <a:gd name="connsiteX6" fmla="*/ 47610 w 47628"/>
                <a:gd name="connsiteY6" fmla="*/ 113888 h 119072"/>
                <a:gd name="connsiteX7" fmla="*/ 43276 w 47628"/>
                <a:gd name="connsiteY7" fmla="*/ 119050 h 119072"/>
                <a:gd name="connsiteX8" fmla="*/ 38114 w 47628"/>
                <a:gd name="connsiteY8" fmla="*/ 114716 h 119072"/>
                <a:gd name="connsiteX9" fmla="*/ 30979 w 47628"/>
                <a:gd name="connsiteY9" fmla="*/ 32658 h 119072"/>
                <a:gd name="connsiteX10" fmla="*/ 9367 w 47628"/>
                <a:gd name="connsiteY10" fmla="*/ 115497 h 119072"/>
                <a:gd name="connsiteX11" fmla="*/ 4767 w 47628"/>
                <a:gd name="connsiteY11" fmla="*/ 119060 h 119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7628" h="119072">
                  <a:moveTo>
                    <a:pt x="4767" y="119060"/>
                  </a:moveTo>
                  <a:cubicBezTo>
                    <a:pt x="4367" y="119060"/>
                    <a:pt x="3967" y="119012"/>
                    <a:pt x="3567" y="118907"/>
                  </a:cubicBezTo>
                  <a:cubicBezTo>
                    <a:pt x="1014" y="118241"/>
                    <a:pt x="-510" y="115640"/>
                    <a:pt x="157" y="113097"/>
                  </a:cubicBezTo>
                  <a:lnTo>
                    <a:pt x="28732" y="3560"/>
                  </a:lnTo>
                  <a:cubicBezTo>
                    <a:pt x="29322" y="1321"/>
                    <a:pt x="31503" y="-174"/>
                    <a:pt x="33742" y="16"/>
                  </a:cubicBezTo>
                  <a:cubicBezTo>
                    <a:pt x="36056" y="216"/>
                    <a:pt x="37885" y="2036"/>
                    <a:pt x="38085" y="4350"/>
                  </a:cubicBezTo>
                  <a:lnTo>
                    <a:pt x="47610" y="113888"/>
                  </a:lnTo>
                  <a:cubicBezTo>
                    <a:pt x="47839" y="116507"/>
                    <a:pt x="45896" y="118822"/>
                    <a:pt x="43276" y="119050"/>
                  </a:cubicBezTo>
                  <a:cubicBezTo>
                    <a:pt x="40628" y="119307"/>
                    <a:pt x="38342" y="117336"/>
                    <a:pt x="38114" y="114716"/>
                  </a:cubicBezTo>
                  <a:lnTo>
                    <a:pt x="30979" y="32658"/>
                  </a:lnTo>
                  <a:lnTo>
                    <a:pt x="9367" y="115497"/>
                  </a:lnTo>
                  <a:cubicBezTo>
                    <a:pt x="8815" y="117641"/>
                    <a:pt x="6881" y="119060"/>
                    <a:pt x="4767" y="119060"/>
                  </a:cubicBezTo>
                  <a:close/>
                </a:path>
              </a:pathLst>
            </a:custGeom>
            <a:solidFill>
              <a:srgbClr val="2632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74">
              <a:extLst>
                <a:ext uri="{FF2B5EF4-FFF2-40B4-BE49-F238E27FC236}">
                  <a16:creationId xmlns:a16="http://schemas.microsoft.com/office/drawing/2014/main" id="{C612855A-7155-DB0E-D355-48E363F233CF}"/>
                </a:ext>
              </a:extLst>
            </p:cNvPr>
            <p:cNvSpPr/>
            <p:nvPr/>
          </p:nvSpPr>
          <p:spPr>
            <a:xfrm>
              <a:off x="12046643" y="2476225"/>
              <a:ext cx="47625" cy="9525"/>
            </a:xfrm>
            <a:custGeom>
              <a:avLst/>
              <a:gdLst>
                <a:gd name="connsiteX0" fmla="*/ 42863 w 47625"/>
                <a:gd name="connsiteY0" fmla="*/ 9525 h 9525"/>
                <a:gd name="connsiteX1" fmla="*/ 4763 w 47625"/>
                <a:gd name="connsiteY1" fmla="*/ 9525 h 9525"/>
                <a:gd name="connsiteX2" fmla="*/ 0 w 47625"/>
                <a:gd name="connsiteY2" fmla="*/ 4763 h 9525"/>
                <a:gd name="connsiteX3" fmla="*/ 4763 w 47625"/>
                <a:gd name="connsiteY3" fmla="*/ 0 h 9525"/>
                <a:gd name="connsiteX4" fmla="*/ 42863 w 47625"/>
                <a:gd name="connsiteY4" fmla="*/ 0 h 9525"/>
                <a:gd name="connsiteX5" fmla="*/ 47625 w 47625"/>
                <a:gd name="connsiteY5" fmla="*/ 4763 h 9525"/>
                <a:gd name="connsiteX6" fmla="*/ 42863 w 47625"/>
                <a:gd name="connsiteY6" fmla="*/ 952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">
                  <a:moveTo>
                    <a:pt x="42863" y="9525"/>
                  </a:moveTo>
                  <a:lnTo>
                    <a:pt x="4763" y="9525"/>
                  </a:lnTo>
                  <a:cubicBezTo>
                    <a:pt x="2134" y="9525"/>
                    <a:pt x="0" y="7391"/>
                    <a:pt x="0" y="4763"/>
                  </a:cubicBezTo>
                  <a:cubicBezTo>
                    <a:pt x="0" y="2134"/>
                    <a:pt x="2134" y="0"/>
                    <a:pt x="4763" y="0"/>
                  </a:cubicBezTo>
                  <a:lnTo>
                    <a:pt x="42863" y="0"/>
                  </a:lnTo>
                  <a:cubicBezTo>
                    <a:pt x="45491" y="0"/>
                    <a:pt x="47625" y="2134"/>
                    <a:pt x="47625" y="4763"/>
                  </a:cubicBezTo>
                  <a:cubicBezTo>
                    <a:pt x="47625" y="7391"/>
                    <a:pt x="45491" y="9525"/>
                    <a:pt x="42863" y="9525"/>
                  </a:cubicBezTo>
                  <a:close/>
                </a:path>
              </a:pathLst>
            </a:custGeom>
            <a:solidFill>
              <a:srgbClr val="2632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02" name="Graphic 33">
            <a:extLst>
              <a:ext uri="{FF2B5EF4-FFF2-40B4-BE49-F238E27FC236}">
                <a16:creationId xmlns:a16="http://schemas.microsoft.com/office/drawing/2014/main" id="{00730890-A8E8-FB18-FF37-CA4AB972CB0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97511" y="1817700"/>
            <a:ext cx="305034" cy="305034"/>
          </a:xfrm>
          <a:prstGeom prst="rect">
            <a:avLst/>
          </a:prstGeom>
        </p:spPr>
      </p:pic>
      <p:pic>
        <p:nvPicPr>
          <p:cNvPr id="103" name="Graphic 31">
            <a:extLst>
              <a:ext uri="{FF2B5EF4-FFF2-40B4-BE49-F238E27FC236}">
                <a16:creationId xmlns:a16="http://schemas.microsoft.com/office/drawing/2014/main" id="{EDFF1F2A-9F93-3FBB-DBC1-42B1AC83EF7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5611" y="4137569"/>
            <a:ext cx="293924" cy="293924"/>
          </a:xfrm>
          <a:prstGeom prst="rect">
            <a:avLst/>
          </a:prstGeom>
        </p:spPr>
      </p:pic>
      <p:pic>
        <p:nvPicPr>
          <p:cNvPr id="104" name="Graphic 83">
            <a:extLst>
              <a:ext uri="{FF2B5EF4-FFF2-40B4-BE49-F238E27FC236}">
                <a16:creationId xmlns:a16="http://schemas.microsoft.com/office/drawing/2014/main" id="{E38FA7F2-9D76-018B-E42E-24FD5E3AEAF1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99499" y="4137569"/>
            <a:ext cx="268960" cy="268960"/>
          </a:xfrm>
          <a:prstGeom prst="rect">
            <a:avLst/>
          </a:prstGeom>
        </p:spPr>
      </p:pic>
      <p:sp>
        <p:nvSpPr>
          <p:cNvPr id="9" name="Pladsholder til tekst 5">
            <a:extLst>
              <a:ext uri="{FF2B5EF4-FFF2-40B4-BE49-F238E27FC236}">
                <a16:creationId xmlns:a16="http://schemas.microsoft.com/office/drawing/2014/main" id="{9BEC7BB0-A0B7-2386-67D0-A0EDDF716C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6316663"/>
            <a:ext cx="12192000" cy="541337"/>
          </a:xfrm>
          <a:blipFill>
            <a:blip r:embed="rId9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14901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guide" hidden="1">
            <a:extLst>
              <a:ext uri="{FF2B5EF4-FFF2-40B4-BE49-F238E27FC236}">
                <a16:creationId xmlns:a16="http://schemas.microsoft.com/office/drawing/2014/main" id="{E916A947-EC5C-4242-8655-032830BDEAF9}"/>
              </a:ext>
            </a:extLst>
          </p:cNvPr>
          <p:cNvGrpSpPr/>
          <p:nvPr userDrawn="1"/>
        </p:nvGrpSpPr>
        <p:grpSpPr>
          <a:xfrm>
            <a:off x="539999" y="540000"/>
            <a:ext cx="11113201" cy="5778000"/>
            <a:chOff x="539999" y="540000"/>
            <a:chExt cx="11113201" cy="577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9B3351A-3BAA-4DEC-BF8E-D9F7FDF57519}"/>
                </a:ext>
              </a:extLst>
            </p:cNvPr>
            <p:cNvSpPr/>
            <p:nvPr userDrawn="1"/>
          </p:nvSpPr>
          <p:spPr>
            <a:xfrm>
              <a:off x="1134775" y="540000"/>
              <a:ext cx="360000" cy="5778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C5E9D41-1BA5-4106-8DB7-2C3C41B6E7B4}"/>
                </a:ext>
              </a:extLst>
            </p:cNvPr>
            <p:cNvSpPr/>
            <p:nvPr userDrawn="1"/>
          </p:nvSpPr>
          <p:spPr>
            <a:xfrm>
              <a:off x="540000" y="540000"/>
              <a:ext cx="11113200" cy="5778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94970E2-A56D-41C0-98C6-AFB04C85706E}"/>
                </a:ext>
              </a:extLst>
            </p:cNvPr>
            <p:cNvSpPr/>
            <p:nvPr userDrawn="1"/>
          </p:nvSpPr>
          <p:spPr>
            <a:xfrm>
              <a:off x="540000" y="1708150"/>
              <a:ext cx="11113200" cy="4609850"/>
            </a:xfrm>
            <a:prstGeom prst="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F2D4B57-761D-4AE7-82B8-1969B49F043C}"/>
                </a:ext>
              </a:extLst>
            </p:cNvPr>
            <p:cNvSpPr/>
            <p:nvPr userDrawn="1"/>
          </p:nvSpPr>
          <p:spPr>
            <a:xfrm>
              <a:off x="2090775" y="540000"/>
              <a:ext cx="360000" cy="5778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5A58408-863E-4057-B973-D9F0E8598612}"/>
                </a:ext>
              </a:extLst>
            </p:cNvPr>
            <p:cNvSpPr/>
            <p:nvPr userDrawn="1"/>
          </p:nvSpPr>
          <p:spPr>
            <a:xfrm>
              <a:off x="3046775" y="540000"/>
              <a:ext cx="360000" cy="5778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CEC6707-9BBF-4933-83D4-59FB26E98AE9}"/>
                </a:ext>
              </a:extLst>
            </p:cNvPr>
            <p:cNvSpPr/>
            <p:nvPr userDrawn="1"/>
          </p:nvSpPr>
          <p:spPr>
            <a:xfrm>
              <a:off x="4002775" y="540000"/>
              <a:ext cx="360000" cy="5778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B8ED325-7705-4DAA-98E9-C8656F1E12BF}"/>
                </a:ext>
              </a:extLst>
            </p:cNvPr>
            <p:cNvSpPr/>
            <p:nvPr userDrawn="1"/>
          </p:nvSpPr>
          <p:spPr>
            <a:xfrm>
              <a:off x="4958775" y="540000"/>
              <a:ext cx="360000" cy="5778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0CDF467-BC65-465E-A8DD-06558EFE0E95}"/>
                </a:ext>
              </a:extLst>
            </p:cNvPr>
            <p:cNvSpPr/>
            <p:nvPr userDrawn="1"/>
          </p:nvSpPr>
          <p:spPr>
            <a:xfrm>
              <a:off x="5914775" y="540000"/>
              <a:ext cx="360000" cy="5778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5BB7604-6372-40B1-943E-DDD25E355797}"/>
                </a:ext>
              </a:extLst>
            </p:cNvPr>
            <p:cNvSpPr/>
            <p:nvPr userDrawn="1"/>
          </p:nvSpPr>
          <p:spPr>
            <a:xfrm>
              <a:off x="6870775" y="540000"/>
              <a:ext cx="360000" cy="5778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005D9BC-9AC3-4C61-9DDB-CE0DF6FA604C}"/>
                </a:ext>
              </a:extLst>
            </p:cNvPr>
            <p:cNvSpPr/>
            <p:nvPr userDrawn="1"/>
          </p:nvSpPr>
          <p:spPr>
            <a:xfrm>
              <a:off x="7826775" y="540000"/>
              <a:ext cx="360000" cy="5778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9558FF-991B-429B-9C78-9683EE120117}"/>
                </a:ext>
              </a:extLst>
            </p:cNvPr>
            <p:cNvSpPr/>
            <p:nvPr userDrawn="1"/>
          </p:nvSpPr>
          <p:spPr>
            <a:xfrm>
              <a:off x="8782775" y="540000"/>
              <a:ext cx="360000" cy="5778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711788A-09CE-4E03-B11C-02D1E319C6D4}"/>
                </a:ext>
              </a:extLst>
            </p:cNvPr>
            <p:cNvSpPr/>
            <p:nvPr userDrawn="1"/>
          </p:nvSpPr>
          <p:spPr>
            <a:xfrm>
              <a:off x="9738775" y="540000"/>
              <a:ext cx="360000" cy="5778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19FB212-9592-47FA-AAE3-147E27F4DBEC}"/>
                </a:ext>
              </a:extLst>
            </p:cNvPr>
            <p:cNvSpPr/>
            <p:nvPr userDrawn="1"/>
          </p:nvSpPr>
          <p:spPr>
            <a:xfrm>
              <a:off x="10694775" y="540000"/>
              <a:ext cx="360000" cy="57780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E3374A3-6E36-4EC6-B683-40D983542464}"/>
                </a:ext>
              </a:extLst>
            </p:cNvPr>
            <p:cNvSpPr/>
            <p:nvPr userDrawn="1"/>
          </p:nvSpPr>
          <p:spPr>
            <a:xfrm>
              <a:off x="539999" y="5958000"/>
              <a:ext cx="11113200" cy="360000"/>
            </a:xfrm>
            <a:prstGeom prst="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907DBC6-C2C8-413D-B8A0-6FCA9A00363E}"/>
                </a:ext>
              </a:extLst>
            </p:cNvPr>
            <p:cNvSpPr/>
            <p:nvPr userDrawn="1"/>
          </p:nvSpPr>
          <p:spPr>
            <a:xfrm>
              <a:off x="539999" y="5598000"/>
              <a:ext cx="11113200" cy="720000"/>
            </a:xfrm>
            <a:prstGeom prst="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noProof="0" dirty="0" err="1"/>
            </a:p>
          </p:txBody>
        </p:sp>
      </p:grp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9558088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indsætte teks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710000"/>
            <a:ext cx="11113200" cy="42478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Niveau 1 (Enter+TAB for næste tekst niveau, SHIFT+TAB for at gå tilbage i niveauer)</a:t>
            </a:r>
          </a:p>
          <a:p>
            <a:pPr lvl="1"/>
            <a:r>
              <a:rPr lang="da-DK" noProof="0" dirty="0"/>
              <a:t>Niveau 2</a:t>
            </a:r>
          </a:p>
          <a:p>
            <a:pPr lvl="2"/>
            <a:r>
              <a:rPr lang="da-DK" noProof="0" dirty="0"/>
              <a:t>Niveau 3</a:t>
            </a:r>
          </a:p>
          <a:p>
            <a:pPr lvl="3"/>
            <a:r>
              <a:rPr lang="da-DK" noProof="0" dirty="0"/>
              <a:t>Niveau 4, Overskrift</a:t>
            </a:r>
          </a:p>
          <a:p>
            <a:pPr lvl="4"/>
            <a:r>
              <a:rPr lang="da-DK" noProof="0" dirty="0"/>
              <a:t>Niveau 5, Brødtekst</a:t>
            </a:r>
          </a:p>
          <a:p>
            <a:pPr lvl="5"/>
            <a:r>
              <a:rPr lang="da-DK" noProof="0" dirty="0"/>
              <a:t>Niveau 6</a:t>
            </a:r>
          </a:p>
          <a:p>
            <a:pPr lvl="6"/>
            <a:r>
              <a:rPr lang="da-DK" noProof="0" dirty="0"/>
              <a:t>Niveau 7, lille overskrift</a:t>
            </a:r>
          </a:p>
          <a:p>
            <a:pPr lvl="7"/>
            <a:r>
              <a:rPr lang="da-DK" noProof="0" dirty="0"/>
              <a:t>Niveau 8, lille brødtekst</a:t>
            </a:r>
          </a:p>
          <a:p>
            <a:pPr lvl="8"/>
            <a:r>
              <a:rPr lang="da-DK" noProof="0" dirty="0"/>
              <a:t>Niveau 9, Infografi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53762" y="6228000"/>
            <a:ext cx="599437" cy="115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rgbClr val="186A32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DAF2562-DFA4-49A4-9C2A-FBAD02376B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000" y="6228000"/>
            <a:ext cx="598237" cy="115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rgbClr val="186A32"/>
                </a:solidFill>
              </a:defRPr>
            </a:lvl1pPr>
          </a:lstStyle>
          <a:p>
            <a:fld id="{86F58875-A4D5-4A0A-BF68-0651AAA635C5}" type="datetime3">
              <a:rPr lang="da-DK" smtClean="0"/>
              <a:pPr/>
              <a:t>09.04.2026</a:t>
            </a:fld>
            <a:endParaRPr lang="da-DK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D397FDF-4480-4092-8EF3-23AF214F48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7600" y="6228000"/>
            <a:ext cx="9556163" cy="115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cap="all" baseline="0">
                <a:solidFill>
                  <a:srgbClr val="186A32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815" r:id="rId2"/>
    <p:sldLayoutId id="2147483818" r:id="rId3"/>
    <p:sldLayoutId id="2147483730" r:id="rId4"/>
    <p:sldLayoutId id="2147483784" r:id="rId5"/>
    <p:sldLayoutId id="2147483785" r:id="rId6"/>
    <p:sldLayoutId id="2147483786" r:id="rId7"/>
    <p:sldLayoutId id="2147483811" r:id="rId8"/>
    <p:sldLayoutId id="2147483813" r:id="rId9"/>
    <p:sldLayoutId id="2147483763" r:id="rId10"/>
    <p:sldLayoutId id="2147483787" r:id="rId11"/>
    <p:sldLayoutId id="2147483819" r:id="rId12"/>
    <p:sldLayoutId id="2147483788" r:id="rId13"/>
    <p:sldLayoutId id="2147483810" r:id="rId14"/>
    <p:sldLayoutId id="2147483820" r:id="rId15"/>
    <p:sldLayoutId id="2147483798" r:id="rId16"/>
    <p:sldLayoutId id="2147483731" r:id="rId17"/>
    <p:sldLayoutId id="2147483817" r:id="rId18"/>
    <p:sldLayoutId id="2147483800" r:id="rId19"/>
    <p:sldLayoutId id="2147483816" r:id="rId20"/>
    <p:sldLayoutId id="2147483797" r:id="rId21"/>
    <p:sldLayoutId id="2147483801" r:id="rId22"/>
    <p:sldLayoutId id="2147483768" r:id="rId23"/>
    <p:sldLayoutId id="2147483790" r:id="rId24"/>
    <p:sldLayoutId id="2147483791" r:id="rId25"/>
    <p:sldLayoutId id="2147483793" r:id="rId26"/>
    <p:sldLayoutId id="2147483814" r:id="rId27"/>
    <p:sldLayoutId id="2147483794" r:id="rId28"/>
    <p:sldLayoutId id="2147483732" r:id="rId29"/>
    <p:sldLayoutId id="2147483795" r:id="rId30"/>
    <p:sldLayoutId id="2147483812" r:id="rId31"/>
    <p:sldLayoutId id="2147483755" r:id="rId32"/>
    <p:sldLayoutId id="2147483796" r:id="rId33"/>
    <p:sldLayoutId id="2147483767" r:id="rId34"/>
    <p:sldLayoutId id="2147483806" r:id="rId35"/>
    <p:sldLayoutId id="2147483799" r:id="rId36"/>
    <p:sldLayoutId id="2147483807" r:id="rId37"/>
    <p:sldLayoutId id="2147483802" r:id="rId38"/>
    <p:sldLayoutId id="2147483805" r:id="rId39"/>
    <p:sldLayoutId id="2147483803" r:id="rId40"/>
    <p:sldLayoutId id="2147483804" r:id="rId41"/>
    <p:sldLayoutId id="2147483809" r:id="rId42"/>
    <p:sldLayoutId id="2147483808" r:id="rId43"/>
    <p:sldLayoutId id="2147483771" r:id="rId44"/>
    <p:sldLayoutId id="2147483753" r:id="rId45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800" b="1" kern="1200" cap="all" spc="50" baseline="0">
          <a:solidFill>
            <a:srgbClr val="186A3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rgbClr val="186A3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186A3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rgbClr val="186A3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3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800" b="1" kern="1200" cap="all" baseline="0">
          <a:solidFill>
            <a:srgbClr val="186A3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800" kern="1200">
          <a:solidFill>
            <a:srgbClr val="186A32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186A3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b="1" kern="1200" cap="all" baseline="0">
          <a:solidFill>
            <a:srgbClr val="186A3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rgbClr val="186A3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8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5400" kern="1200" cap="all" baseline="0">
          <a:solidFill>
            <a:srgbClr val="186A3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4" userDrawn="1">
          <p15:clr>
            <a:srgbClr val="A4A3A4"/>
          </p15:clr>
        </p15:guide>
        <p15:guide id="2" pos="941" userDrawn="1">
          <p15:clr>
            <a:srgbClr val="A4A3A4"/>
          </p15:clr>
        </p15:guide>
        <p15:guide id="3" orient="horz" pos="340" userDrawn="1">
          <p15:clr>
            <a:srgbClr val="F26B43"/>
          </p15:clr>
        </p15:guide>
        <p15:guide id="4" orient="horz" pos="3979" userDrawn="1">
          <p15:clr>
            <a:srgbClr val="A4A3A4"/>
          </p15:clr>
        </p15:guide>
        <p15:guide id="5" pos="340" userDrawn="1">
          <p15:clr>
            <a:srgbClr val="F26B43"/>
          </p15:clr>
        </p15:guide>
        <p15:guide id="6" pos="7340" userDrawn="1">
          <p15:clr>
            <a:srgbClr val="F26B43"/>
          </p15:clr>
        </p15:guide>
        <p15:guide id="7" orient="horz" pos="1076" userDrawn="1">
          <p15:clr>
            <a:srgbClr val="F26B43"/>
          </p15:clr>
        </p15:guide>
        <p15:guide id="8" pos="1317" userDrawn="1">
          <p15:clr>
            <a:srgbClr val="A4A3A4"/>
          </p15:clr>
        </p15:guide>
        <p15:guide id="9" pos="1543" userDrawn="1">
          <p15:clr>
            <a:srgbClr val="A4A3A4"/>
          </p15:clr>
        </p15:guide>
        <p15:guide id="10" pos="1919" userDrawn="1">
          <p15:clr>
            <a:srgbClr val="A4A3A4"/>
          </p15:clr>
        </p15:guide>
        <p15:guide id="11" pos="2139" userDrawn="1">
          <p15:clr>
            <a:srgbClr val="A4A3A4"/>
          </p15:clr>
        </p15:guide>
        <p15:guide id="12" pos="2521" userDrawn="1">
          <p15:clr>
            <a:srgbClr val="A4A3A4"/>
          </p15:clr>
        </p15:guide>
        <p15:guide id="13" pos="2748" userDrawn="1">
          <p15:clr>
            <a:srgbClr val="A4A3A4"/>
          </p15:clr>
        </p15:guide>
        <p15:guide id="14" pos="3123" userDrawn="1">
          <p15:clr>
            <a:srgbClr val="A4A3A4"/>
          </p15:clr>
        </p15:guide>
        <p15:guide id="15" pos="3350" userDrawn="1">
          <p15:clr>
            <a:srgbClr val="A4A3A4"/>
          </p15:clr>
        </p15:guide>
        <p15:guide id="16" pos="3725" userDrawn="1">
          <p15:clr>
            <a:srgbClr val="A4A3A4"/>
          </p15:clr>
        </p15:guide>
        <p15:guide id="17" pos="3952" userDrawn="1">
          <p15:clr>
            <a:srgbClr val="A4A3A4"/>
          </p15:clr>
        </p15:guide>
        <p15:guide id="18" pos="4328" userDrawn="1">
          <p15:clr>
            <a:srgbClr val="A4A3A4"/>
          </p15:clr>
        </p15:guide>
        <p15:guide id="19" pos="4554" userDrawn="1">
          <p15:clr>
            <a:srgbClr val="A4A3A4"/>
          </p15:clr>
        </p15:guide>
        <p15:guide id="20" pos="4930" userDrawn="1">
          <p15:clr>
            <a:srgbClr val="A4A3A4"/>
          </p15:clr>
        </p15:guide>
        <p15:guide id="21" pos="5157" userDrawn="1">
          <p15:clr>
            <a:srgbClr val="A4A3A4"/>
          </p15:clr>
        </p15:guide>
        <p15:guide id="22" pos="5532" userDrawn="1">
          <p15:clr>
            <a:srgbClr val="A4A3A4"/>
          </p15:clr>
        </p15:guide>
        <p15:guide id="23" pos="5759" userDrawn="1">
          <p15:clr>
            <a:srgbClr val="A4A3A4"/>
          </p15:clr>
        </p15:guide>
        <p15:guide id="24" pos="6134" userDrawn="1">
          <p15:clr>
            <a:srgbClr val="A4A3A4"/>
          </p15:clr>
        </p15:guide>
        <p15:guide id="25" pos="6361" userDrawn="1">
          <p15:clr>
            <a:srgbClr val="A4A3A4"/>
          </p15:clr>
        </p15:guide>
        <p15:guide id="26" pos="6736" userDrawn="1">
          <p15:clr>
            <a:srgbClr val="A4A3A4"/>
          </p15:clr>
        </p15:guide>
        <p15:guide id="27" pos="6963" userDrawn="1">
          <p15:clr>
            <a:srgbClr val="A4A3A4"/>
          </p15:clr>
        </p15:guide>
        <p15:guide id="28" orient="horz" pos="3753" userDrawn="1">
          <p15:clr>
            <a:srgbClr val="F26B43"/>
          </p15:clr>
        </p15:guide>
        <p15:guide id="29" orient="horz" pos="35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4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.sv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1.svg"/><Relationship Id="rId4" Type="http://schemas.openxmlformats.org/officeDocument/2006/relationships/image" Target="../media/image5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97B3CFB-B163-3B27-FC09-46DC04D61B8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Pladsholder til billede 12">
            <a:extLst>
              <a:ext uri="{FF2B5EF4-FFF2-40B4-BE49-F238E27FC236}">
                <a16:creationId xmlns:a16="http://schemas.microsoft.com/office/drawing/2014/main" id="{473AB058-8A0B-A970-AB0C-4A47B49C7F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da-DK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6151598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" name="Pladsholder til billede 129" descr="Et billede, der indeholder udendørs, person, hjelm, tøj&#10;&#10;Automatisk genereret beskrivelse">
            <a:extLst>
              <a:ext uri="{FF2B5EF4-FFF2-40B4-BE49-F238E27FC236}">
                <a16:creationId xmlns:a16="http://schemas.microsoft.com/office/drawing/2014/main" id="{F64B8509-CE96-FF24-6573-2C5DC1769E7C}"/>
              </a:ext>
            </a:extLst>
          </p:cNvPr>
          <p:cNvPicPr>
            <a:picLocks noGrp="1" noChangeAspect="1"/>
          </p:cNvPicPr>
          <p:nvPr>
            <p:ph type="pic" sz="quarter" idx="3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18125" y="2894338"/>
            <a:ext cx="6873875" cy="3963661"/>
          </a:xfrm>
        </p:spPr>
      </p:pic>
      <p:sp>
        <p:nvSpPr>
          <p:cNvPr id="161" name="Titel 160">
            <a:extLst>
              <a:ext uri="{FF2B5EF4-FFF2-40B4-BE49-F238E27FC236}">
                <a16:creationId xmlns:a16="http://schemas.microsoft.com/office/drawing/2014/main" id="{3FC8BD2E-A06D-510C-48A5-90A7E54A7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39750"/>
            <a:ext cx="4778375" cy="936625"/>
          </a:xfrm>
        </p:spPr>
        <p:txBody>
          <a:bodyPr/>
          <a:lstStyle/>
          <a:p>
            <a:r>
              <a:rPr lang="da-DK" dirty="0"/>
              <a:t>Pejlemærker </a:t>
            </a:r>
            <a:br>
              <a:rPr lang="da-DK" dirty="0"/>
            </a:br>
            <a:r>
              <a:rPr lang="da-DK" dirty="0"/>
              <a:t>for indsatsmodell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EED81EF-33E7-2299-BE0A-6AA8B4EB132A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240631" y="5708216"/>
            <a:ext cx="598237" cy="115200"/>
          </a:xfrm>
        </p:spPr>
        <p:txBody>
          <a:bodyPr/>
          <a:lstStyle/>
          <a:p>
            <a:fld id="{ED59C8CD-1C97-4A8D-8CB4-AE964E5DDDCC}" type="datetime3">
              <a:rPr lang="da-DK" smtClean="0"/>
              <a:pPr/>
              <a:t>09.04.2026</a:t>
            </a:fld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E8ABA1E-A2F0-B838-8C88-7C7E572CFF8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40381" y="5993611"/>
            <a:ext cx="4418013" cy="115200"/>
          </a:xfrm>
        </p:spPr>
        <p:txBody>
          <a:bodyPr/>
          <a:lstStyle/>
          <a:p>
            <a:r>
              <a:rPr lang="da-DK" dirty="0"/>
              <a:t>Kilde: Styrelsen for Arbejdsmarked og Rekruttering (2018) &amp; En Vej Til Alle (2022)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94861377-A40A-CEFA-2C02-E634F222F96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53762" y="6228000"/>
            <a:ext cx="599437" cy="115200"/>
          </a:xfrm>
        </p:spPr>
        <p:txBody>
          <a:bodyPr/>
          <a:lstStyle/>
          <a:p>
            <a:fld id="{24C8C45C-947F-4981-8B3F-4F32E973C901}" type="slidenum">
              <a:rPr lang="da-DK" smtClean="0"/>
              <a:pPr/>
              <a:t>10</a:t>
            </a:fld>
            <a:endParaRPr lang="da-DK" dirty="0"/>
          </a:p>
        </p:txBody>
      </p:sp>
      <p:sp>
        <p:nvSpPr>
          <p:cNvPr id="194" name="Pladsholder til billede 193">
            <a:extLst>
              <a:ext uri="{FF2B5EF4-FFF2-40B4-BE49-F238E27FC236}">
                <a16:creationId xmlns:a16="http://schemas.microsoft.com/office/drawing/2014/main" id="{83B75588-8F34-DA66-9B03-4B1D7ABD619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7" name="Pladsholder til tekst 76">
            <a:extLst>
              <a:ext uri="{FF2B5EF4-FFF2-40B4-BE49-F238E27FC236}">
                <a16:creationId xmlns:a16="http://schemas.microsoft.com/office/drawing/2014/main" id="{B081020F-2526-E84A-2B49-03C311B24B2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5714" y="1719263"/>
            <a:ext cx="3056373" cy="327527"/>
          </a:xfrm>
        </p:spPr>
        <p:txBody>
          <a:bodyPr/>
          <a:lstStyle/>
          <a:p>
            <a:r>
              <a:rPr lang="da-DK" dirty="0"/>
              <a:t>Mening og retning</a:t>
            </a:r>
          </a:p>
        </p:txBody>
      </p:sp>
      <p:sp>
        <p:nvSpPr>
          <p:cNvPr id="78" name="Pladsholder til tekst 77">
            <a:extLst>
              <a:ext uri="{FF2B5EF4-FFF2-40B4-BE49-F238E27FC236}">
                <a16:creationId xmlns:a16="http://schemas.microsoft.com/office/drawing/2014/main" id="{5B5672A2-DB64-EDE2-4D7C-533023651B5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5714" y="2046790"/>
            <a:ext cx="3056373" cy="1573025"/>
          </a:xfrm>
        </p:spPr>
        <p:txBody>
          <a:bodyPr/>
          <a:lstStyle/>
          <a:p>
            <a:r>
              <a:rPr lang="da-DK" dirty="0"/>
              <a:t>Tage afsæt i de unge, deres motivation, konkrete erfaringer og oplevelser</a:t>
            </a:r>
          </a:p>
          <a:p>
            <a:r>
              <a:rPr lang="da-DK" dirty="0"/>
              <a:t>Klart og meningsfyldt mål med en klar plan for fremadrettet udvikling mod uddannelse eller beskæftigelse</a:t>
            </a:r>
          </a:p>
        </p:txBody>
      </p:sp>
      <p:sp>
        <p:nvSpPr>
          <p:cNvPr id="96" name="Pladsholder til tekst 95">
            <a:extLst>
              <a:ext uri="{FF2B5EF4-FFF2-40B4-BE49-F238E27FC236}">
                <a16:creationId xmlns:a16="http://schemas.microsoft.com/office/drawing/2014/main" id="{C42E2EF8-D3A1-4E5B-E9CA-8B9BE029034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9569" y="1719263"/>
            <a:ext cx="3056373" cy="327527"/>
          </a:xfrm>
        </p:spPr>
        <p:txBody>
          <a:bodyPr/>
          <a:lstStyle/>
          <a:p>
            <a:r>
              <a:rPr lang="da-DK" dirty="0"/>
              <a:t>Tro på sig selv og egne evner</a:t>
            </a:r>
          </a:p>
        </p:txBody>
      </p:sp>
      <p:sp>
        <p:nvSpPr>
          <p:cNvPr id="97" name="Pladsholder til tekst 96">
            <a:extLst>
              <a:ext uri="{FF2B5EF4-FFF2-40B4-BE49-F238E27FC236}">
                <a16:creationId xmlns:a16="http://schemas.microsoft.com/office/drawing/2014/main" id="{51F59FE2-C797-87F1-0B17-14E23C0FBDF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69569" y="2046790"/>
            <a:ext cx="3056373" cy="1573025"/>
          </a:xfrm>
        </p:spPr>
        <p:txBody>
          <a:bodyPr/>
          <a:lstStyle/>
          <a:p>
            <a:r>
              <a:rPr lang="da-DK" dirty="0"/>
              <a:t>Øge de unges tro på sig selv og egne uddannelses-, </a:t>
            </a:r>
            <a:r>
              <a:rPr lang="da-DK" dirty="0" err="1"/>
              <a:t>arbejds</a:t>
            </a:r>
            <a:r>
              <a:rPr lang="da-DK" dirty="0"/>
              <a:t>-, og generelle evner (f.eks. livsmestring)</a:t>
            </a:r>
          </a:p>
          <a:p>
            <a:r>
              <a:rPr lang="da-DK" dirty="0"/>
              <a:t>Skabe en selv-fortælling og identitet, hvor de unge kan varetage et job eller tage en uddannelse</a:t>
            </a:r>
          </a:p>
        </p:txBody>
      </p:sp>
      <p:sp>
        <p:nvSpPr>
          <p:cNvPr id="114" name="Pladsholder til tekst 113">
            <a:extLst>
              <a:ext uri="{FF2B5EF4-FFF2-40B4-BE49-F238E27FC236}">
                <a16:creationId xmlns:a16="http://schemas.microsoft.com/office/drawing/2014/main" id="{CF429A40-CF3E-6A55-1E58-461202A23A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585867" y="1719263"/>
            <a:ext cx="3056373" cy="327527"/>
          </a:xfrm>
        </p:spPr>
        <p:txBody>
          <a:bodyPr/>
          <a:lstStyle/>
          <a:p>
            <a:r>
              <a:rPr lang="da-DK" dirty="0"/>
              <a:t>Fællesskab</a:t>
            </a:r>
          </a:p>
        </p:txBody>
      </p:sp>
      <p:sp>
        <p:nvSpPr>
          <p:cNvPr id="115" name="Pladsholder til tekst 114">
            <a:extLst>
              <a:ext uri="{FF2B5EF4-FFF2-40B4-BE49-F238E27FC236}">
                <a16:creationId xmlns:a16="http://schemas.microsoft.com/office/drawing/2014/main" id="{1100E1D8-E0A5-4E0D-2BDA-7E3EF79FEC2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85867" y="2046790"/>
            <a:ext cx="3056373" cy="1573025"/>
          </a:xfrm>
        </p:spPr>
        <p:txBody>
          <a:bodyPr/>
          <a:lstStyle/>
          <a:p>
            <a:r>
              <a:rPr lang="da-DK" dirty="0"/>
              <a:t>Give de unge en oplevelse af at være en del af et tillidsfuldt og gensidigt fællesskab</a:t>
            </a:r>
          </a:p>
          <a:p>
            <a:r>
              <a:rPr lang="da-DK" dirty="0"/>
              <a:t>Et fællesskab hvor de kan spejle sig i hinanden, føle sig ok, åbne op og dele tanker og problemer</a:t>
            </a:r>
          </a:p>
          <a:p>
            <a:r>
              <a:rPr lang="da-DK" dirty="0"/>
              <a:t>Et fællesskab hvor de laver aktiviteter og arbejdsopgaver sammen, hvor rammerne er gode, så de trygt kan begå fejl</a:t>
            </a:r>
          </a:p>
        </p:txBody>
      </p:sp>
      <p:sp>
        <p:nvSpPr>
          <p:cNvPr id="143" name="Pladsholder til tekst 142">
            <a:extLst>
              <a:ext uri="{FF2B5EF4-FFF2-40B4-BE49-F238E27FC236}">
                <a16:creationId xmlns:a16="http://schemas.microsoft.com/office/drawing/2014/main" id="{873D915F-199F-6405-68F4-D15158E74CD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45714" y="4039269"/>
            <a:ext cx="3056373" cy="327527"/>
          </a:xfrm>
        </p:spPr>
        <p:txBody>
          <a:bodyPr/>
          <a:lstStyle/>
          <a:p>
            <a:r>
              <a:rPr lang="da-DK" dirty="0"/>
              <a:t>Netværk og brobygning</a:t>
            </a:r>
          </a:p>
        </p:txBody>
      </p:sp>
      <p:sp>
        <p:nvSpPr>
          <p:cNvPr id="144" name="Pladsholder til tekst 143">
            <a:extLst>
              <a:ext uri="{FF2B5EF4-FFF2-40B4-BE49-F238E27FC236}">
                <a16:creationId xmlns:a16="http://schemas.microsoft.com/office/drawing/2014/main" id="{4DCEF608-7FF9-5B24-8759-AB6DE50CAB5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5714" y="4366796"/>
            <a:ext cx="3056373" cy="1573025"/>
          </a:xfrm>
        </p:spPr>
        <p:txBody>
          <a:bodyPr/>
          <a:lstStyle/>
          <a:p>
            <a:r>
              <a:rPr lang="da-DK" dirty="0"/>
              <a:t>Udvide de unges sociale kontakt og </a:t>
            </a:r>
            <a:r>
              <a:rPr lang="da-DK" dirty="0" err="1"/>
              <a:t>brobygge</a:t>
            </a:r>
            <a:r>
              <a:rPr lang="da-DK" dirty="0"/>
              <a:t> til forskellige netværk, som de unge enten ikke har adgang til eller har svært ved at indgå i.</a:t>
            </a:r>
          </a:p>
        </p:txBody>
      </p:sp>
      <p:sp>
        <p:nvSpPr>
          <p:cNvPr id="145" name="Pladsholder til tekst 144">
            <a:extLst>
              <a:ext uri="{FF2B5EF4-FFF2-40B4-BE49-F238E27FC236}">
                <a16:creationId xmlns:a16="http://schemas.microsoft.com/office/drawing/2014/main" id="{1EC1F731-30A2-4762-AA87-5B4FD5C252C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69569" y="4039269"/>
            <a:ext cx="3056374" cy="327527"/>
          </a:xfrm>
        </p:spPr>
        <p:txBody>
          <a:bodyPr/>
          <a:lstStyle/>
          <a:p>
            <a:r>
              <a:rPr lang="da-DK" dirty="0"/>
              <a:t>Rollemodeller og vejledning</a:t>
            </a:r>
          </a:p>
        </p:txBody>
      </p:sp>
      <p:sp>
        <p:nvSpPr>
          <p:cNvPr id="146" name="Pladsholder til tekst 145">
            <a:extLst>
              <a:ext uri="{FF2B5EF4-FFF2-40B4-BE49-F238E27FC236}">
                <a16:creationId xmlns:a16="http://schemas.microsoft.com/office/drawing/2014/main" id="{EE69C919-DCB4-4C24-8B1F-77683922A53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69569" y="4366796"/>
            <a:ext cx="3056374" cy="1573025"/>
          </a:xfrm>
        </p:spPr>
        <p:txBody>
          <a:bodyPr/>
          <a:lstStyle/>
          <a:p>
            <a:r>
              <a:rPr lang="da-DK" dirty="0"/>
              <a:t>Arbejde med rollemodeller/mentorer hvor de unge vejledes af fagfolk, frivillige eller andre med faglige og menneskelige kompetencer</a:t>
            </a:r>
          </a:p>
        </p:txBody>
      </p:sp>
      <p:sp>
        <p:nvSpPr>
          <p:cNvPr id="2" name="Pladsholder til tekst 41">
            <a:extLst>
              <a:ext uri="{FF2B5EF4-FFF2-40B4-BE49-F238E27FC236}">
                <a16:creationId xmlns:a16="http://schemas.microsoft.com/office/drawing/2014/main" id="{FA55CFFF-ED29-30A9-E45F-BA0BE181098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6316663"/>
            <a:ext cx="12192000" cy="541337"/>
          </a:xfrm>
        </p:spPr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794051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86E7B79-611A-1E3A-0339-F61E96BD9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6E7B79-611A-1E3A-0339-F61E96BD9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Graphic 35">
            <a:extLst>
              <a:ext uri="{FF2B5EF4-FFF2-40B4-BE49-F238E27FC236}">
                <a16:creationId xmlns:a16="http://schemas.microsoft.com/office/drawing/2014/main" id="{3D16865B-292C-A7F9-024C-A20B859B25B9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20626" b="9662"/>
          <a:stretch/>
        </p:blipFill>
        <p:spPr>
          <a:xfrm flipH="1">
            <a:off x="539750" y="0"/>
            <a:ext cx="11112500" cy="6858000"/>
          </a:xfrm>
          <a:custGeom>
            <a:avLst/>
            <a:gdLst>
              <a:gd name="connsiteX0" fmla="*/ 11112500 w 11112500"/>
              <a:gd name="connsiteY0" fmla="*/ 0 h 6858000"/>
              <a:gd name="connsiteX1" fmla="*/ 0 w 11112500"/>
              <a:gd name="connsiteY1" fmla="*/ 0 h 6858000"/>
              <a:gd name="connsiteX2" fmla="*/ 0 w 11112500"/>
              <a:gd name="connsiteY2" fmla="*/ 6858000 h 6858000"/>
              <a:gd name="connsiteX3" fmla="*/ 11112500 w 111125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12500" h="6858000">
                <a:moveTo>
                  <a:pt x="11112500" y="0"/>
                </a:moveTo>
                <a:lnTo>
                  <a:pt x="0" y="0"/>
                </a:lnTo>
                <a:lnTo>
                  <a:pt x="0" y="6858000"/>
                </a:lnTo>
                <a:lnTo>
                  <a:pt x="11112500" y="6858000"/>
                </a:lnTo>
                <a:close/>
              </a:path>
            </a:pathLst>
          </a:custGeom>
        </p:spPr>
      </p:pic>
      <p:sp>
        <p:nvSpPr>
          <p:cNvPr id="13" name="Pladsholder til billede 12">
            <a:extLst>
              <a:ext uri="{FF2B5EF4-FFF2-40B4-BE49-F238E27FC236}">
                <a16:creationId xmlns:a16="http://schemas.microsoft.com/office/drawing/2014/main" id="{4EC8C352-CD33-0B39-00DC-D62D7E75573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879276-996F-DA2D-5F14-8A22C1AAE6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2910881"/>
            <a:ext cx="4417200" cy="2635940"/>
          </a:xfrm>
        </p:spPr>
        <p:txBody>
          <a:bodyPr vert="horz"/>
          <a:lstStyle/>
          <a:p>
            <a:r>
              <a:rPr lang="da-DK" dirty="0" err="1"/>
              <a:t>Breaker</a:t>
            </a:r>
            <a:endParaRPr lang="da-DK" dirty="0"/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1369D27A-6A23-327B-1C7F-74AFE0D8A3A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FB41B7D-CC01-7865-A88B-DD9529F8CA2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0019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90DB507C-8EB1-011E-226E-A05CF3D0DBD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1EDB81B-238C-F839-4FA8-EAAFFFC7EB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A2E2BB0B-E377-E5C6-7F5B-90553D1118D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275257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80F2E9B-1A70-F629-1A3B-E61A269138F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3FD7250F-638C-4DCF-BA14-83F18C989770}" type="datetime3">
              <a:rPr lang="da-DK" smtClean="0"/>
              <a:pPr/>
              <a:t>09.04.2026</a:t>
            </a:fld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ED35E10-4DC9-6C5F-9AB8-377DB064C92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BBC7118-00F2-6797-0A08-33A79F33FC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24C8C45C-947F-4981-8B3F-4F32E973C901}" type="slidenum">
              <a:rPr lang="da-DK" smtClean="0"/>
              <a:pPr/>
              <a:t>13</a:t>
            </a:fld>
            <a:endParaRPr lang="da-DK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69A4EBB-AB4F-B775-1119-B5B172A1F4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587" y="2524125"/>
            <a:ext cx="11110663" cy="1317215"/>
          </a:xfrm>
        </p:spPr>
        <p:txBody>
          <a:bodyPr/>
          <a:lstStyle/>
          <a:p>
            <a:r>
              <a:rPr lang="da-DK" dirty="0"/>
              <a:t>startblokken</a:t>
            </a:r>
          </a:p>
        </p:txBody>
      </p:sp>
      <p:sp>
        <p:nvSpPr>
          <p:cNvPr id="8" name="Undertitel 7">
            <a:extLst>
              <a:ext uri="{FF2B5EF4-FFF2-40B4-BE49-F238E27FC236}">
                <a16:creationId xmlns:a16="http://schemas.microsoft.com/office/drawing/2014/main" id="{4000CA35-D83A-89BD-6036-26846DCC23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9750" y="3720300"/>
            <a:ext cx="11110663" cy="861774"/>
          </a:xfrm>
        </p:spPr>
        <p:txBody>
          <a:bodyPr/>
          <a:lstStyle/>
          <a:p>
            <a:r>
              <a:rPr lang="da-DK" dirty="0"/>
              <a:t>er finansieret af</a:t>
            </a:r>
          </a:p>
        </p:txBody>
      </p:sp>
    </p:spTree>
    <p:extLst>
      <p:ext uri="{BB962C8B-B14F-4D97-AF65-F5344CB8AC3E}">
        <p14:creationId xmlns:p14="http://schemas.microsoft.com/office/powerpoint/2010/main" val="14219055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0B7604C2-05D7-2A45-D599-97CE0A1A480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9B302B38-8D6F-4F5F-AE29-1DFC99A11AD9}" type="datetime3">
              <a:rPr lang="da-DK" smtClean="0"/>
              <a:pPr/>
              <a:t>09.04.2026</a:t>
            </a:fld>
            <a:endParaRPr lang="da-DK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BDA11EF-5F6E-A5E4-4B6B-9D0641DF9BB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9EA9B52-D8AB-C874-78CD-321CB82BF5C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24C8C45C-947F-4981-8B3F-4F32E973C901}" type="slidenum">
              <a:rPr lang="da-DK" smtClean="0"/>
              <a:pPr/>
              <a:t>14</a:t>
            </a:fld>
            <a:endParaRPr lang="da-DK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55C3090B-D8C8-C7F2-F7FE-09983BDBCB6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Undertitel 8">
            <a:extLst>
              <a:ext uri="{FF2B5EF4-FFF2-40B4-BE49-F238E27FC236}">
                <a16:creationId xmlns:a16="http://schemas.microsoft.com/office/drawing/2014/main" id="{B6F5F52C-A229-8291-71FA-6759BE24016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83611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5F75A5-DD45-4077-E8C2-90EF7DA9D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70DF9CF-F947-8F70-3CAC-A47FC729030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3FD7250F-638C-4DCF-BA14-83F18C989770}" type="datetime3">
              <a:rPr lang="da-DK" smtClean="0"/>
              <a:pPr/>
              <a:t>09.04.2026</a:t>
            </a:fld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53E3B23-69C6-6B94-46B5-9DB10AE520C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D1233C2E-BC57-85C5-FC50-0E0CFC58985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24C8C45C-947F-4981-8B3F-4F32E973C901}" type="slidenum">
              <a:rPr lang="da-DK" smtClean="0"/>
              <a:pPr/>
              <a:t>15</a:t>
            </a:fld>
            <a:endParaRPr lang="da-DK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171A8B7-3359-DBF8-BA48-8AAFC936FF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587" y="2524125"/>
            <a:ext cx="11110663" cy="1317215"/>
          </a:xfrm>
        </p:spPr>
        <p:txBody>
          <a:bodyPr/>
          <a:lstStyle/>
          <a:p>
            <a:r>
              <a:rPr lang="da-DK" dirty="0"/>
              <a:t>startblokken</a:t>
            </a:r>
          </a:p>
        </p:txBody>
      </p:sp>
      <p:sp>
        <p:nvSpPr>
          <p:cNvPr id="8" name="Undertitel 7">
            <a:extLst>
              <a:ext uri="{FF2B5EF4-FFF2-40B4-BE49-F238E27FC236}">
                <a16:creationId xmlns:a16="http://schemas.microsoft.com/office/drawing/2014/main" id="{FFA2EDC1-1660-D1C8-4FCF-6E7039EE5C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9750" y="3720300"/>
            <a:ext cx="11110663" cy="861774"/>
          </a:xfrm>
        </p:spPr>
        <p:txBody>
          <a:bodyPr/>
          <a:lstStyle/>
          <a:p>
            <a:r>
              <a:rPr lang="da-DK" dirty="0"/>
              <a:t>er finansieret af</a:t>
            </a:r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0342FDB2-ED33-9365-CA23-D9D978F91C9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5820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921791CA-0768-8C68-CEE5-F474DD36056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9B302B38-8D6F-4F5F-AE29-1DFC99A11AD9}" type="datetime3">
              <a:rPr lang="da-DK" smtClean="0"/>
              <a:pPr/>
              <a:t>09.04.2026</a:t>
            </a:fld>
            <a:endParaRPr lang="da-DK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2F3E86E-C844-4050-A653-1B957BC9D2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0F127E0-AF90-5D02-070F-62C7DFFD19B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24C8C45C-947F-4981-8B3F-4F32E973C901}" type="slidenum">
              <a:rPr lang="da-DK" smtClean="0"/>
              <a:pPr/>
              <a:t>16</a:t>
            </a:fld>
            <a:endParaRPr lang="da-DK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9223197-BD81-71B4-28D5-DF9C6D7A437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Undertitel 8">
            <a:extLst>
              <a:ext uri="{FF2B5EF4-FFF2-40B4-BE49-F238E27FC236}">
                <a16:creationId xmlns:a16="http://schemas.microsoft.com/office/drawing/2014/main" id="{A1ED4394-3C0E-F6C3-792B-71073C2B7AE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7D01D685-AF9E-0335-3086-DBB141D6830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852475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E53455B-CAB3-920B-5E0F-2A1BCD84ED9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CB4DAE74-BC5E-4067-97A0-3A2C4322717E}" type="datetime3">
              <a:rPr lang="da-DK" smtClean="0"/>
              <a:pPr/>
              <a:t>09.04.2026</a:t>
            </a:fld>
            <a:endParaRPr lang="da-DK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B514DE3-53FD-F76E-0922-20A856AB09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AF08307-D90C-0D1F-0E6B-3D3CBC90707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24C8C45C-947F-4981-8B3F-4F32E973C901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3AAA51A-FF71-AEEB-C414-2B7D7DB60F5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Undertitel 8">
            <a:extLst>
              <a:ext uri="{FF2B5EF4-FFF2-40B4-BE49-F238E27FC236}">
                <a16:creationId xmlns:a16="http://schemas.microsoft.com/office/drawing/2014/main" id="{06841F95-6BD1-7D8F-2BB9-06CF828EBA1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B08427CE-BE7A-AADA-6397-8F725F1C2F0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06124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8E2FC865-EF94-D937-26B2-513A32053C0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E8E82E86-3436-4ED0-B14D-99DD61DDFAA3}" type="datetime3">
              <a:rPr lang="da-DK" smtClean="0"/>
              <a:pPr/>
              <a:t>09.04.2026</a:t>
            </a:fld>
            <a:endParaRPr lang="da-DK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A3779AB-AE74-86E0-93E9-5113EADE0EC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4B242C61-5DB9-14B9-97E9-0F89D0F7254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24C8C45C-947F-4981-8B3F-4F32E973C901}" type="slidenum">
              <a:rPr lang="da-DK" smtClean="0"/>
              <a:pPr/>
              <a:t>3</a:t>
            </a:fld>
            <a:endParaRPr lang="da-DK" dirty="0"/>
          </a:p>
        </p:txBody>
      </p:sp>
      <p:sp>
        <p:nvSpPr>
          <p:cNvPr id="12" name="Pladsholder til indhold 11">
            <a:extLst>
              <a:ext uri="{FF2B5EF4-FFF2-40B4-BE49-F238E27FC236}">
                <a16:creationId xmlns:a16="http://schemas.microsoft.com/office/drawing/2014/main" id="{5B57F244-13BD-83A5-D48C-D8FF0B63CD2A}"/>
              </a:ext>
            </a:extLst>
          </p:cNvPr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8A5BBC11-CD4E-1905-176C-206BAD12B9F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66D95F6C-9EC6-0B48-5A4B-3F4B20CE711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6316663"/>
            <a:ext cx="12192000" cy="541337"/>
          </a:xfrm>
        </p:spPr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8601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ladsholder til billede 40">
            <a:extLst>
              <a:ext uri="{FF2B5EF4-FFF2-40B4-BE49-F238E27FC236}">
                <a16:creationId xmlns:a16="http://schemas.microsoft.com/office/drawing/2014/main" id="{31CD474D-F97E-11EB-D76F-5BA961766DE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9" name="Titel 38">
            <a:extLst>
              <a:ext uri="{FF2B5EF4-FFF2-40B4-BE49-F238E27FC236}">
                <a16:creationId xmlns:a16="http://schemas.microsoft.com/office/drawing/2014/main" id="{EEC54A3F-6B75-ED88-421F-5896191E6D8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0" name="Undertitel 39">
            <a:extLst>
              <a:ext uri="{FF2B5EF4-FFF2-40B4-BE49-F238E27FC236}">
                <a16:creationId xmlns:a16="http://schemas.microsoft.com/office/drawing/2014/main" id="{737F9D93-F2B3-80C9-FC21-2DBF725E5B7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3" name="Pladsholder til billede 42">
            <a:extLst>
              <a:ext uri="{FF2B5EF4-FFF2-40B4-BE49-F238E27FC236}">
                <a16:creationId xmlns:a16="http://schemas.microsoft.com/office/drawing/2014/main" id="{6E921FBB-711E-9062-E62C-204EB58D278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2" name="Pladsholder til tekst 41">
            <a:extLst>
              <a:ext uri="{FF2B5EF4-FFF2-40B4-BE49-F238E27FC236}">
                <a16:creationId xmlns:a16="http://schemas.microsoft.com/office/drawing/2014/main" id="{B7F5E8A3-F711-4325-518A-D6AD6FC430D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61986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52" descr="Kvindelig spiller high five">
            <a:extLst>
              <a:ext uri="{FF2B5EF4-FFF2-40B4-BE49-F238E27FC236}">
                <a16:creationId xmlns:a16="http://schemas.microsoft.com/office/drawing/2014/main" id="{991947B3-E5F7-4D3C-3983-A55072E4A55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18125" y="0"/>
            <a:ext cx="6875076" cy="3021596"/>
          </a:xfr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9ECBB7D0-AC82-3558-8975-1A67B6EB299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0442CBCD-82D5-DB70-A8D2-D71560429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24C8C45C-947F-4981-8B3F-4F32E973C901}" type="slidenum">
              <a:rPr lang="da-DK" smtClean="0"/>
              <a:pPr/>
              <a:t>5</a:t>
            </a:fld>
            <a:endParaRPr lang="da-DK" dirty="0"/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1FCAC09E-4103-CD09-D2B9-6284941FBED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2163" y="758825"/>
            <a:ext cx="4165600" cy="467809"/>
          </a:xfrm>
        </p:spPr>
        <p:txBody>
          <a:bodyPr/>
          <a:lstStyle/>
          <a:p>
            <a:r>
              <a:rPr lang="da-DK"/>
              <a:t>Visionen</a:t>
            </a:r>
            <a:endParaRPr lang="da-DK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D1E3DE61-9ED6-91D9-B080-82F289CF8B5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92163" y="1372142"/>
            <a:ext cx="4165600" cy="1348756"/>
          </a:xfrm>
        </p:spPr>
        <p:txBody>
          <a:bodyPr/>
          <a:lstStyle/>
          <a:p>
            <a:r>
              <a:rPr lang="da-DK"/>
              <a:t>Visionen er at skabe en veldokumenteret, effektiv og skalérbar national  indsats, der kan være livsændrende for de unge der står uden for samfundets fællesskaber. </a:t>
            </a:r>
            <a:endParaRPr lang="da-DK" dirty="0"/>
          </a:p>
        </p:txBody>
      </p:sp>
      <p:sp>
        <p:nvSpPr>
          <p:cNvPr id="20" name="Pladsholder til tekst 19">
            <a:extLst>
              <a:ext uri="{FF2B5EF4-FFF2-40B4-BE49-F238E27FC236}">
                <a16:creationId xmlns:a16="http://schemas.microsoft.com/office/drawing/2014/main" id="{8F830D9B-C9A3-6416-B6F9-310C8879724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32488" y="4661121"/>
            <a:ext cx="5121275" cy="1655541"/>
          </a:xfrm>
        </p:spPr>
        <p:txBody>
          <a:bodyPr/>
          <a:lstStyle/>
          <a:p>
            <a:r>
              <a:rPr lang="da-DK"/>
              <a:t>En indsats der baner vejen </a:t>
            </a:r>
            <a:br>
              <a:rPr lang="da-DK"/>
            </a:br>
            <a:r>
              <a:rPr lang="da-DK"/>
              <a:t>fra personlig til systemisk forandring</a:t>
            </a:r>
          </a:p>
          <a:p>
            <a:endParaRPr lang="da-DK" dirty="0"/>
          </a:p>
        </p:txBody>
      </p:sp>
      <p:sp>
        <p:nvSpPr>
          <p:cNvPr id="32" name="Pladsholder til billede 31">
            <a:extLst>
              <a:ext uri="{FF2B5EF4-FFF2-40B4-BE49-F238E27FC236}">
                <a16:creationId xmlns:a16="http://schemas.microsoft.com/office/drawing/2014/main" id="{08C553D4-89AF-EF2B-B0E9-3E17BDEC8CE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27759E4-DBC9-8FCD-9650-8A0515F3A87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098088" y="488151"/>
            <a:ext cx="1598400" cy="1078920"/>
          </a:xfrm>
          <a:prstGeom prst="rect">
            <a:avLst/>
          </a:prstGeom>
        </p:spPr>
      </p:pic>
      <p:pic>
        <p:nvPicPr>
          <p:cNvPr id="23" name="Graphic 6">
            <a:extLst>
              <a:ext uri="{FF2B5EF4-FFF2-40B4-BE49-F238E27FC236}">
                <a16:creationId xmlns:a16="http://schemas.microsoft.com/office/drawing/2014/main" id="{7A1732AC-E39E-9CE0-BFE8-7FFA9D310DF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16769" y="3262359"/>
            <a:ext cx="1157416" cy="1157416"/>
          </a:xfrm>
          <a:prstGeom prst="rect">
            <a:avLst/>
          </a:prstGeom>
        </p:spPr>
      </p:pic>
      <p:cxnSp>
        <p:nvCxnSpPr>
          <p:cNvPr id="24" name="Straight Connector 45">
            <a:extLst>
              <a:ext uri="{FF2B5EF4-FFF2-40B4-BE49-F238E27FC236}">
                <a16:creationId xmlns:a16="http://schemas.microsoft.com/office/drawing/2014/main" id="{78753764-F76C-094D-E655-276463FAC090}"/>
              </a:ext>
            </a:extLst>
          </p:cNvPr>
          <p:cNvCxnSpPr>
            <a:cxnSpLocks/>
          </p:cNvCxnSpPr>
          <p:nvPr/>
        </p:nvCxnSpPr>
        <p:spPr>
          <a:xfrm>
            <a:off x="6874185" y="4039077"/>
            <a:ext cx="5317815" cy="0"/>
          </a:xfrm>
          <a:prstGeom prst="line">
            <a:avLst/>
          </a:prstGeom>
          <a:ln w="6350">
            <a:solidFill>
              <a:srgbClr val="186A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9699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690DCA-80A3-413E-A3C2-9C5248FC31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106B983-61B3-39C8-C126-9CCAC3ED8C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8ADF6B5E-695F-E901-A58E-B3984A6219E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DFAFC872-8228-93ED-FD94-43CDC538BE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132296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7887F4-A403-D606-8A76-E90740613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7646738" cy="936000"/>
          </a:xfrm>
        </p:spPr>
        <p:txBody>
          <a:bodyPr/>
          <a:lstStyle/>
          <a:p>
            <a:r>
              <a:rPr lang="da-DK" dirty="0"/>
              <a:t>Overskrift &amp; Noget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68F74CA-D30C-BC9D-B522-1E35A507E2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1708149"/>
            <a:ext cx="7646738" cy="3889376"/>
          </a:xfrm>
        </p:spPr>
        <p:txBody>
          <a:bodyPr/>
          <a:lstStyle/>
          <a:p>
            <a:r>
              <a:rPr lang="da-DK" dirty="0" err="1"/>
              <a:t>Erioristis</a:t>
            </a:r>
            <a:r>
              <a:rPr lang="da-DK" dirty="0"/>
              <a:t> </a:t>
            </a:r>
            <a:r>
              <a:rPr lang="da-DK" dirty="0" err="1"/>
              <a:t>exerfer</a:t>
            </a:r>
            <a:r>
              <a:rPr lang="da-DK" dirty="0"/>
              <a:t> </a:t>
            </a:r>
            <a:r>
              <a:rPr lang="da-DK" dirty="0" err="1"/>
              <a:t>uptatur</a:t>
            </a:r>
            <a:r>
              <a:rPr lang="da-DK" dirty="0"/>
              <a:t> sin </a:t>
            </a:r>
            <a:r>
              <a:rPr lang="da-DK" dirty="0" err="1"/>
              <a:t>etum</a:t>
            </a:r>
            <a:r>
              <a:rPr lang="da-DK" dirty="0"/>
              <a:t> a </a:t>
            </a:r>
            <a:r>
              <a:rPr lang="da-DK" dirty="0" err="1"/>
              <a:t>velis</a:t>
            </a:r>
            <a:r>
              <a:rPr lang="da-DK" dirty="0"/>
              <a:t> </a:t>
            </a:r>
            <a:r>
              <a:rPr lang="da-DK" dirty="0" err="1"/>
              <a:t>rerum</a:t>
            </a:r>
            <a:r>
              <a:rPr lang="da-DK" dirty="0"/>
              <a:t> </a:t>
            </a:r>
            <a:r>
              <a:rPr lang="da-DK" dirty="0" err="1"/>
              <a:t>ventore</a:t>
            </a:r>
            <a:r>
              <a:rPr lang="da-DK" dirty="0"/>
              <a:t> </a:t>
            </a:r>
            <a:r>
              <a:rPr lang="da-DK" dirty="0" err="1"/>
              <a:t>stibusae</a:t>
            </a:r>
            <a:r>
              <a:rPr lang="da-DK" dirty="0"/>
              <a:t> </a:t>
            </a:r>
            <a:r>
              <a:rPr lang="da-DK" dirty="0" err="1"/>
              <a:t>resequi</a:t>
            </a:r>
            <a:r>
              <a:rPr lang="da-DK" dirty="0"/>
              <a:t> </a:t>
            </a:r>
            <a:r>
              <a:rPr lang="da-DK" dirty="0" err="1"/>
              <a:t>blaudi</a:t>
            </a:r>
            <a:r>
              <a:rPr lang="da-DK" dirty="0"/>
              <a:t> </a:t>
            </a:r>
            <a:r>
              <a:rPr lang="da-DK" dirty="0" err="1"/>
              <a:t>dunt</a:t>
            </a:r>
            <a:r>
              <a:rPr lang="da-DK" dirty="0"/>
              <a:t> </a:t>
            </a:r>
            <a:r>
              <a:rPr lang="da-DK" dirty="0" err="1"/>
              <a:t>qui</a:t>
            </a:r>
            <a:r>
              <a:rPr lang="da-DK" dirty="0"/>
              <a:t> dis </a:t>
            </a:r>
            <a:r>
              <a:rPr lang="da-DK" dirty="0" err="1"/>
              <a:t>ata</a:t>
            </a:r>
            <a:r>
              <a:rPr lang="da-DK" dirty="0"/>
              <a:t> </a:t>
            </a:r>
            <a:r>
              <a:rPr lang="da-DK" dirty="0" err="1"/>
              <a:t>volorio</a:t>
            </a:r>
            <a:r>
              <a:rPr lang="da-DK" dirty="0"/>
              <a:t> </a:t>
            </a:r>
            <a:r>
              <a:rPr lang="da-DK" dirty="0" err="1"/>
              <a:t>rroritius</a:t>
            </a:r>
            <a:r>
              <a:rPr lang="da-DK" dirty="0"/>
              <a:t> re.</a:t>
            </a:r>
          </a:p>
          <a:p>
            <a:r>
              <a:rPr lang="da-DK" dirty="0" err="1"/>
              <a:t>Ped</a:t>
            </a:r>
            <a:r>
              <a:rPr lang="da-DK" dirty="0"/>
              <a:t> </a:t>
            </a:r>
            <a:r>
              <a:rPr lang="da-DK" dirty="0" err="1"/>
              <a:t>quisque</a:t>
            </a:r>
            <a:r>
              <a:rPr lang="da-DK" dirty="0"/>
              <a:t> lam, </a:t>
            </a:r>
            <a:r>
              <a:rPr lang="da-DK" dirty="0" err="1"/>
              <a:t>omnis</a:t>
            </a:r>
            <a:r>
              <a:rPr lang="da-DK" dirty="0"/>
              <a:t> </a:t>
            </a:r>
            <a:r>
              <a:rPr lang="da-DK" dirty="0" err="1"/>
              <a:t>deriore</a:t>
            </a:r>
            <a:r>
              <a:rPr lang="da-DK" dirty="0"/>
              <a:t> nos </a:t>
            </a:r>
            <a:r>
              <a:rPr lang="da-DK" dirty="0" err="1"/>
              <a:t>enditae</a:t>
            </a:r>
            <a:r>
              <a:rPr lang="da-DK" dirty="0"/>
              <a:t> </a:t>
            </a:r>
            <a:r>
              <a:rPr lang="da-DK" dirty="0" err="1"/>
              <a:t>quidia</a:t>
            </a:r>
            <a:r>
              <a:rPr lang="da-DK" dirty="0"/>
              <a:t> </a:t>
            </a:r>
            <a:r>
              <a:rPr lang="da-DK" dirty="0" err="1"/>
              <a:t>inullam</a:t>
            </a:r>
            <a:r>
              <a:rPr lang="da-DK" dirty="0"/>
              <a:t> </a:t>
            </a:r>
            <a:r>
              <a:rPr lang="da-DK" dirty="0" err="1"/>
              <a:t>usciisi</a:t>
            </a:r>
            <a:r>
              <a:rPr lang="da-DK" dirty="0"/>
              <a:t> </a:t>
            </a:r>
            <a:r>
              <a:rPr lang="da-DK" dirty="0" err="1"/>
              <a:t>opta</a:t>
            </a:r>
            <a:r>
              <a:rPr lang="da-DK" dirty="0"/>
              <a:t> </a:t>
            </a:r>
            <a:r>
              <a:rPr lang="da-DK" dirty="0" err="1"/>
              <a:t>quam</a:t>
            </a:r>
            <a:r>
              <a:rPr lang="da-DK" dirty="0"/>
              <a:t> quos </a:t>
            </a:r>
            <a:r>
              <a:rPr lang="da-DK" dirty="0" err="1"/>
              <a:t>dolupie</a:t>
            </a:r>
            <a:r>
              <a:rPr lang="da-DK" dirty="0"/>
              <a:t> </a:t>
            </a:r>
            <a:r>
              <a:rPr lang="da-DK" dirty="0" err="1"/>
              <a:t>nduciat</a:t>
            </a:r>
            <a:r>
              <a:rPr lang="da-DK" dirty="0"/>
              <a:t> </a:t>
            </a:r>
            <a:r>
              <a:rPr lang="da-DK" dirty="0" err="1"/>
              <a:t>uriatus</a:t>
            </a:r>
            <a:endParaRPr lang="da-DK" dirty="0"/>
          </a:p>
          <a:p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AC39A43-4B39-EA04-D44C-3C68FD4A97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312131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FAAEB-793E-ABF5-A95E-E506D4322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E1FC2B-247F-6A7D-2BAB-193F0408B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7646738" cy="936000"/>
          </a:xfrm>
        </p:spPr>
        <p:txBody>
          <a:bodyPr/>
          <a:lstStyle/>
          <a:p>
            <a:r>
              <a:rPr lang="da-DK" dirty="0"/>
              <a:t>Overskrift &amp; Noget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518505B-D0EA-783A-B4E3-7ABB91789E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1708149"/>
            <a:ext cx="7646738" cy="3720247"/>
          </a:xfrm>
        </p:spPr>
        <p:txBody>
          <a:bodyPr/>
          <a:lstStyle/>
          <a:p>
            <a:r>
              <a:rPr lang="da-DK" dirty="0" err="1"/>
              <a:t>Erioristis</a:t>
            </a:r>
            <a:r>
              <a:rPr lang="da-DK" dirty="0"/>
              <a:t> </a:t>
            </a:r>
            <a:r>
              <a:rPr lang="da-DK" dirty="0" err="1"/>
              <a:t>exerfer</a:t>
            </a:r>
            <a:r>
              <a:rPr lang="da-DK" dirty="0"/>
              <a:t> </a:t>
            </a:r>
            <a:r>
              <a:rPr lang="da-DK" dirty="0" err="1"/>
              <a:t>uptatur</a:t>
            </a:r>
            <a:r>
              <a:rPr lang="da-DK" dirty="0"/>
              <a:t> sin </a:t>
            </a:r>
            <a:r>
              <a:rPr lang="da-DK" dirty="0" err="1"/>
              <a:t>etum</a:t>
            </a:r>
            <a:r>
              <a:rPr lang="da-DK" dirty="0"/>
              <a:t> a </a:t>
            </a:r>
            <a:r>
              <a:rPr lang="da-DK" dirty="0" err="1"/>
              <a:t>velis</a:t>
            </a:r>
            <a:r>
              <a:rPr lang="da-DK" dirty="0"/>
              <a:t> </a:t>
            </a:r>
            <a:r>
              <a:rPr lang="da-DK" dirty="0" err="1"/>
              <a:t>rerum</a:t>
            </a:r>
            <a:r>
              <a:rPr lang="da-DK" dirty="0"/>
              <a:t> </a:t>
            </a:r>
            <a:r>
              <a:rPr lang="da-DK" dirty="0" err="1"/>
              <a:t>ventore</a:t>
            </a:r>
            <a:r>
              <a:rPr lang="da-DK" dirty="0"/>
              <a:t> </a:t>
            </a:r>
            <a:r>
              <a:rPr lang="da-DK" dirty="0" err="1"/>
              <a:t>stibusae</a:t>
            </a:r>
            <a:r>
              <a:rPr lang="da-DK" dirty="0"/>
              <a:t> </a:t>
            </a:r>
            <a:r>
              <a:rPr lang="da-DK" dirty="0" err="1"/>
              <a:t>resequi</a:t>
            </a:r>
            <a:r>
              <a:rPr lang="da-DK" dirty="0"/>
              <a:t> </a:t>
            </a:r>
            <a:r>
              <a:rPr lang="da-DK" dirty="0" err="1"/>
              <a:t>blaudi</a:t>
            </a:r>
            <a:r>
              <a:rPr lang="da-DK" dirty="0"/>
              <a:t> </a:t>
            </a:r>
            <a:r>
              <a:rPr lang="da-DK" dirty="0" err="1"/>
              <a:t>dunt</a:t>
            </a:r>
            <a:r>
              <a:rPr lang="da-DK" dirty="0"/>
              <a:t> </a:t>
            </a:r>
            <a:r>
              <a:rPr lang="da-DK" dirty="0" err="1"/>
              <a:t>qui</a:t>
            </a:r>
            <a:r>
              <a:rPr lang="da-DK" dirty="0"/>
              <a:t> dis </a:t>
            </a:r>
            <a:r>
              <a:rPr lang="da-DK" dirty="0" err="1"/>
              <a:t>ata</a:t>
            </a:r>
            <a:r>
              <a:rPr lang="da-DK" dirty="0"/>
              <a:t> </a:t>
            </a:r>
            <a:r>
              <a:rPr lang="da-DK" dirty="0" err="1"/>
              <a:t>volorio</a:t>
            </a:r>
            <a:r>
              <a:rPr lang="da-DK" dirty="0"/>
              <a:t> </a:t>
            </a:r>
            <a:r>
              <a:rPr lang="da-DK" dirty="0" err="1"/>
              <a:t>rroritius</a:t>
            </a:r>
            <a:r>
              <a:rPr lang="da-DK" dirty="0"/>
              <a:t> re.</a:t>
            </a:r>
          </a:p>
          <a:p>
            <a:r>
              <a:rPr lang="da-DK" dirty="0" err="1"/>
              <a:t>Ped</a:t>
            </a:r>
            <a:r>
              <a:rPr lang="da-DK" dirty="0"/>
              <a:t> </a:t>
            </a:r>
            <a:r>
              <a:rPr lang="da-DK" dirty="0" err="1"/>
              <a:t>quisque</a:t>
            </a:r>
            <a:r>
              <a:rPr lang="da-DK" dirty="0"/>
              <a:t> lam, </a:t>
            </a:r>
            <a:r>
              <a:rPr lang="da-DK" dirty="0" err="1"/>
              <a:t>omnis</a:t>
            </a:r>
            <a:r>
              <a:rPr lang="da-DK" dirty="0"/>
              <a:t> </a:t>
            </a:r>
            <a:r>
              <a:rPr lang="da-DK" dirty="0" err="1"/>
              <a:t>deriore</a:t>
            </a:r>
            <a:r>
              <a:rPr lang="da-DK" dirty="0"/>
              <a:t> nos </a:t>
            </a:r>
            <a:r>
              <a:rPr lang="da-DK" dirty="0" err="1"/>
              <a:t>enditae</a:t>
            </a:r>
            <a:r>
              <a:rPr lang="da-DK" dirty="0"/>
              <a:t> </a:t>
            </a:r>
            <a:r>
              <a:rPr lang="da-DK" dirty="0" err="1"/>
              <a:t>quidia</a:t>
            </a:r>
            <a:r>
              <a:rPr lang="da-DK" dirty="0"/>
              <a:t> </a:t>
            </a:r>
            <a:r>
              <a:rPr lang="da-DK" dirty="0" err="1"/>
              <a:t>inullam</a:t>
            </a:r>
            <a:r>
              <a:rPr lang="da-DK" dirty="0"/>
              <a:t> </a:t>
            </a:r>
            <a:r>
              <a:rPr lang="da-DK" dirty="0" err="1"/>
              <a:t>usciisi</a:t>
            </a:r>
            <a:r>
              <a:rPr lang="da-DK" dirty="0"/>
              <a:t> </a:t>
            </a:r>
            <a:r>
              <a:rPr lang="da-DK" dirty="0" err="1"/>
              <a:t>opta</a:t>
            </a:r>
            <a:r>
              <a:rPr lang="da-DK" dirty="0"/>
              <a:t> </a:t>
            </a:r>
            <a:r>
              <a:rPr lang="da-DK" dirty="0" err="1"/>
              <a:t>quam</a:t>
            </a:r>
            <a:r>
              <a:rPr lang="da-DK" dirty="0"/>
              <a:t> quos </a:t>
            </a:r>
            <a:r>
              <a:rPr lang="da-DK" dirty="0" err="1"/>
              <a:t>dolupie</a:t>
            </a:r>
            <a:r>
              <a:rPr lang="da-DK" dirty="0"/>
              <a:t> </a:t>
            </a:r>
            <a:r>
              <a:rPr lang="da-DK" dirty="0" err="1"/>
              <a:t>nduciat</a:t>
            </a:r>
            <a:r>
              <a:rPr lang="da-DK" dirty="0"/>
              <a:t> </a:t>
            </a:r>
            <a:r>
              <a:rPr lang="da-DK" dirty="0" err="1"/>
              <a:t>uriatus</a:t>
            </a:r>
            <a:endParaRPr lang="da-DK" dirty="0"/>
          </a:p>
          <a:p>
            <a:endParaRPr lang="da-DK" dirty="0"/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06364C7B-4174-5AF0-E84B-C8B917CABAB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F3C1925-BC6D-5BF0-9344-B0CA0A0935BE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227763"/>
            <a:ext cx="598488" cy="115887"/>
          </a:xfrm>
        </p:spPr>
        <p:txBody>
          <a:bodyPr/>
          <a:lstStyle/>
          <a:p>
            <a:fld id="{9C599760-503B-4D77-85C5-169950E3950D}" type="datetime3">
              <a:rPr lang="da-DK" smtClean="0"/>
              <a:pPr/>
              <a:t>09.04.2026</a:t>
            </a:fld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D6BA232-2AA1-E0F0-CA48-FBEF3209010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91925" y="6227763"/>
            <a:ext cx="600075" cy="115887"/>
          </a:xfrm>
        </p:spPr>
        <p:txBody>
          <a:bodyPr/>
          <a:lstStyle/>
          <a:p>
            <a:fld id="{24C8C45C-947F-4981-8B3F-4F32E973C901}" type="slidenum">
              <a:rPr lang="da-DK" smtClean="0"/>
              <a:pPr/>
              <a:t>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993804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B2A6E8-BFA8-F575-9E0C-93F1A641E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9558088" cy="936000"/>
          </a:xfrm>
        </p:spPr>
        <p:txBody>
          <a:bodyPr/>
          <a:lstStyle/>
          <a:p>
            <a:r>
              <a:rPr lang="da-DK" dirty="0"/>
              <a:t>Løbebanerne i grøn nuance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ADC26966-C4DF-6192-F5A9-79113099D2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C67D5F3E-08BD-D3AC-4886-FE76CEFF4AD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5329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82430992256430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F PowerPoint DK">
  <a:themeElements>
    <a:clrScheme name="DIF 2021">
      <a:dk1>
        <a:sysClr val="windowText" lastClr="000000"/>
      </a:dk1>
      <a:lt1>
        <a:sysClr val="window" lastClr="FFFFFF"/>
      </a:lt1>
      <a:dk2>
        <a:srgbClr val="565F65"/>
      </a:dk2>
      <a:lt2>
        <a:srgbClr val="F0F0F2"/>
      </a:lt2>
      <a:accent1>
        <a:srgbClr val="FF2600"/>
      </a:accent1>
      <a:accent2>
        <a:srgbClr val="2C373E"/>
      </a:accent2>
      <a:accent3>
        <a:srgbClr val="B6B9BC"/>
      </a:accent3>
      <a:accent4>
        <a:srgbClr val="80878B"/>
      </a:accent4>
      <a:accent5>
        <a:srgbClr val="565F65"/>
      </a:accent5>
      <a:accent6>
        <a:srgbClr val="DADADC"/>
      </a:accent6>
      <a:hlink>
        <a:srgbClr val="FF2600"/>
      </a:hlink>
      <a:folHlink>
        <a:srgbClr val="2C373E"/>
      </a:folHlink>
    </a:clrScheme>
    <a:fontScheme name="DIF 2021">
      <a:majorFont>
        <a:latin typeface="DIF"/>
        <a:ea typeface=""/>
        <a:cs typeface=""/>
      </a:majorFont>
      <a:minorFont>
        <a:latin typeface="D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seTemplate 16-9 DK.potx" id="{EB32A1AD-9B90-4719-AE89-A4D31A28E73E}" vid="{071A415C-2378-45EC-9A83-548DE88CA857}"/>
    </a:ext>
  </a:extLst>
</a:theme>
</file>

<file path=ppt/theme/theme2.xml><?xml version="1.0" encoding="utf-8"?>
<a:theme xmlns:a="http://schemas.openxmlformats.org/drawingml/2006/main" name="Office-tema">
  <a:themeElements>
    <a:clrScheme name="DIF 2021">
      <a:dk1>
        <a:sysClr val="windowText" lastClr="000000"/>
      </a:dk1>
      <a:lt1>
        <a:sysClr val="window" lastClr="FFFFFF"/>
      </a:lt1>
      <a:dk2>
        <a:srgbClr val="565F65"/>
      </a:dk2>
      <a:lt2>
        <a:srgbClr val="F0F0F2"/>
      </a:lt2>
      <a:accent1>
        <a:srgbClr val="FF2600"/>
      </a:accent1>
      <a:accent2>
        <a:srgbClr val="2C373E"/>
      </a:accent2>
      <a:accent3>
        <a:srgbClr val="B6B9BC"/>
      </a:accent3>
      <a:accent4>
        <a:srgbClr val="80878B"/>
      </a:accent4>
      <a:accent5>
        <a:srgbClr val="565F65"/>
      </a:accent5>
      <a:accent6>
        <a:srgbClr val="DADADC"/>
      </a:accent6>
      <a:hlink>
        <a:srgbClr val="FF2600"/>
      </a:hlink>
      <a:folHlink>
        <a:srgbClr val="2C373E"/>
      </a:folHlink>
    </a:clrScheme>
    <a:fontScheme name="DIF 2021">
      <a:majorFont>
        <a:latin typeface="DIF"/>
        <a:ea typeface=""/>
        <a:cs typeface=""/>
      </a:majorFont>
      <a:minorFont>
        <a:latin typeface="DIF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DIF 2021">
      <a:dk1>
        <a:sysClr val="windowText" lastClr="000000"/>
      </a:dk1>
      <a:lt1>
        <a:sysClr val="window" lastClr="FFFFFF"/>
      </a:lt1>
      <a:dk2>
        <a:srgbClr val="565F65"/>
      </a:dk2>
      <a:lt2>
        <a:srgbClr val="F0F0F2"/>
      </a:lt2>
      <a:accent1>
        <a:srgbClr val="FF2600"/>
      </a:accent1>
      <a:accent2>
        <a:srgbClr val="2C373E"/>
      </a:accent2>
      <a:accent3>
        <a:srgbClr val="B6B9BC"/>
      </a:accent3>
      <a:accent4>
        <a:srgbClr val="80878B"/>
      </a:accent4>
      <a:accent5>
        <a:srgbClr val="565F65"/>
      </a:accent5>
      <a:accent6>
        <a:srgbClr val="DADADC"/>
      </a:accent6>
      <a:hlink>
        <a:srgbClr val="FF2600"/>
      </a:hlink>
      <a:folHlink>
        <a:srgbClr val="2C373E"/>
      </a:folHlink>
    </a:clrScheme>
    <a:fontScheme name="DIF 2021">
      <a:majorFont>
        <a:latin typeface="DIF"/>
        <a:ea typeface=""/>
        <a:cs typeface=""/>
      </a:majorFont>
      <a:minorFont>
        <a:latin typeface="D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TemplateConfiguration><![CDATA[{"elementsMetadata":[],"transformationConfigurations":[],"templateName":"DIF PowerPoint_2023","templateDescription":"","enableDocumentContentUpdater":false,"version":"2.0"}]]></TemplafyTemplateConfiguration>
</file>

<file path=customXml/item10.xml><?xml version="1.0" encoding="utf-8"?>
<TemplafySlideTemplateConfiguration><![CDATA[{"slideVersion":1,"isValidatorEnabled":false,"isLocked":false,"elementsMetadata":[],"slideId":"638237098932345255","enableDocumentContentUpdater":false,"version":"2.0"}]]></TemplafySlideTemplateConfiguration>
</file>

<file path=customXml/item11.xml><?xml version="1.0" encoding="utf-8"?>
<TemplafySlideTemplateConfiguration><![CDATA[{"slideVersion":1,"isValidatorEnabled":false,"isLocked":false,"elementsMetadata":[],"slideId":"638237098932345255","enableDocumentContentUpdater":false,"version":"2.0"}]]></TemplafySlideTemplateConfiguratio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C9DB88DE76CB545BAD1CD091F6662C5" ma:contentTypeVersion="17" ma:contentTypeDescription="Opret et nyt dokument." ma:contentTypeScope="" ma:versionID="3f19f863aeb274cc3e057e7776599628">
  <xsd:schema xmlns:xsd="http://www.w3.org/2001/XMLSchema" xmlns:xs="http://www.w3.org/2001/XMLSchema" xmlns:p="http://schemas.microsoft.com/office/2006/metadata/properties" xmlns:ns2="d162904a-0f46-4204-9a2c-94cb8d9bd7be" xmlns:ns3="7d707a8f-39d1-49ff-af5e-3b3c839af262" targetNamespace="http://schemas.microsoft.com/office/2006/metadata/properties" ma:root="true" ma:fieldsID="263161ebd4664577beb7a0ffa1f0b5f6" ns2:_="" ns3:_="">
    <xsd:import namespace="d162904a-0f46-4204-9a2c-94cb8d9bd7be"/>
    <xsd:import namespace="7d707a8f-39d1-49ff-af5e-3b3c839af262"/>
    <xsd:element name="properties">
      <xsd:complexType>
        <xsd:sequence>
          <xsd:element name="documentManagement">
            <xsd:complexType>
              <xsd:all>
                <xsd:element ref="ns2:dd57a070d84d4888973bbccc01e5e117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62904a-0f46-4204-9a2c-94cb8d9bd7be" elementFormDefault="qualified">
    <xsd:import namespace="http://schemas.microsoft.com/office/2006/documentManagement/types"/>
    <xsd:import namespace="http://schemas.microsoft.com/office/infopath/2007/PartnerControls"/>
    <xsd:element name="dd57a070d84d4888973bbccc01e5e117" ma:index="9" nillable="true" ma:taxonomy="true" ma:internalName="dd57a070d84d4888973bbccc01e5e117" ma:taxonomyFieldName="Interessent" ma:displayName="Interessent" ma:readOnly="false" ma:fieldId="{dd57a070-d84d-4888-973b-bccc01e5e117}" ma:taxonomyMulti="true" ma:sspId="9e91bdb0-c8f2-42f2-967d-5e73220e0aea" ma:termSetId="2581ee0b-4f5b-4721-a793-63e181b0f51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ledmærker" ma:readOnly="false" ma:fieldId="{5cf76f15-5ced-4ddc-b409-7134ff3c332f}" ma:taxonomyMulti="true" ma:sspId="9e91bdb0-c8f2-42f2-967d-5e73220e0ae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707a8f-39d1-49ff-af5e-3b3c839af262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135e83d6-38d6-4db5-9a3a-3d0966f0ea08}" ma:internalName="TaxCatchAll" ma:showField="CatchAllData" ma:web="7d707a8f-39d1-49ff-af5e-3b3c839af2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Indholdstype"/>
        <xsd:element ref="dc:title" minOccurs="0" maxOccurs="1" ma:index="3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TemplafySlideTemplateConfiguration><![CDATA[{"slideVersion":1,"isValidatorEnabled":false,"isLocked":false,"elementsMetadata":[],"slideId":"638237098932345255","enableDocumentContentUpdater":false,"version":"2.0"}]]></TemplafySlideTemplateConfiguration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162904a-0f46-4204-9a2c-94cb8d9bd7be">
      <Terms xmlns="http://schemas.microsoft.com/office/infopath/2007/PartnerControls"/>
    </lcf76f155ced4ddcb4097134ff3c332f>
    <TaxCatchAll xmlns="7d707a8f-39d1-49ff-af5e-3b3c839af262" xsi:nil="true"/>
    <dd57a070d84d4888973bbccc01e5e117 xmlns="d162904a-0f46-4204-9a2c-94cb8d9bd7be">
      <Terms xmlns="http://schemas.microsoft.com/office/infopath/2007/PartnerControls"/>
    </dd57a070d84d4888973bbccc01e5e117>
  </documentManagement>
</p:properties>
</file>

<file path=customXml/item6.xml><?xml version="1.0" encoding="utf-8"?>
<TemplafyFormConfiguration><![CDATA[{"formFields":[],"formDataEntries":[]}]]></TemplafyForm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07AB10E3-71CC-41A7-BA81-3528DD7555B2}">
  <ds:schemaRefs/>
</ds:datastoreItem>
</file>

<file path=customXml/itemProps10.xml><?xml version="1.0" encoding="utf-8"?>
<ds:datastoreItem xmlns:ds="http://schemas.openxmlformats.org/officeDocument/2006/customXml" ds:itemID="{225B646B-2E6D-7447-90D9-96B3997BC5CB}">
  <ds:schemaRefs/>
</ds:datastoreItem>
</file>

<file path=customXml/itemProps11.xml><?xml version="1.0" encoding="utf-8"?>
<ds:datastoreItem xmlns:ds="http://schemas.openxmlformats.org/officeDocument/2006/customXml" ds:itemID="{41F2BC1F-E698-0341-99FC-DBF345F7EBEA}">
  <ds:schemaRefs/>
</ds:datastoreItem>
</file>

<file path=customXml/itemProps2.xml><?xml version="1.0" encoding="utf-8"?>
<ds:datastoreItem xmlns:ds="http://schemas.openxmlformats.org/officeDocument/2006/customXml" ds:itemID="{073CCD03-0C29-4242-9CC7-7C8562FBE8C2}"/>
</file>

<file path=customXml/itemProps3.xml><?xml version="1.0" encoding="utf-8"?>
<ds:datastoreItem xmlns:ds="http://schemas.openxmlformats.org/officeDocument/2006/customXml" ds:itemID="{2BFC8192-9FF0-47C3-AE8A-BA0B5674383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2390729-75BE-4D17-90DA-80DC4FB5CC56}">
  <ds:schemaRefs/>
</ds:datastoreItem>
</file>

<file path=customXml/itemProps5.xml><?xml version="1.0" encoding="utf-8"?>
<ds:datastoreItem xmlns:ds="http://schemas.openxmlformats.org/officeDocument/2006/customXml" ds:itemID="{2F29AE55-9FA5-4CFF-BF7E-FDD714EF74DB}">
  <ds:schemaRefs>
    <ds:schemaRef ds:uri="http://schemas.microsoft.com/office/2006/metadata/properties"/>
    <ds:schemaRef ds:uri="http://schemas.microsoft.com/office/infopath/2007/PartnerControls"/>
    <ds:schemaRef ds:uri="8b9a3d9c-a24f-4aca-8759-8bb2ea09d77c"/>
    <ds:schemaRef ds:uri="2f648dfc-abd3-4666-bd7a-488194f41be0"/>
  </ds:schemaRefs>
</ds:datastoreItem>
</file>

<file path=customXml/itemProps6.xml><?xml version="1.0" encoding="utf-8"?>
<ds:datastoreItem xmlns:ds="http://schemas.openxmlformats.org/officeDocument/2006/customXml" ds:itemID="{38C80B7A-0080-44C9-8686-BB144333DCA7}">
  <ds:schemaRefs/>
</ds:datastoreItem>
</file>

<file path=customXml/itemProps7.xml><?xml version="1.0" encoding="utf-8"?>
<ds:datastoreItem xmlns:ds="http://schemas.openxmlformats.org/officeDocument/2006/customXml" ds:itemID="{C5A6430A-0A42-48DC-BF5D-FB4448CE63F2}">
  <ds:schemaRefs/>
</ds:datastoreItem>
</file>

<file path=customXml/itemProps8.xml><?xml version="1.0" encoding="utf-8"?>
<ds:datastoreItem xmlns:ds="http://schemas.openxmlformats.org/officeDocument/2006/customXml" ds:itemID="{A8773AAF-CFBF-FE43-A592-2B80B36FB26F}">
  <ds:schemaRefs/>
</ds:datastoreItem>
</file>

<file path=customXml/itemProps9.xml><?xml version="1.0" encoding="utf-8"?>
<ds:datastoreItem xmlns:ds="http://schemas.openxmlformats.org/officeDocument/2006/customXml" ds:itemID="{5690B38A-1DF5-6E49-9600-74B5DA7DBF2B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seTemplate 16-9 DK</Template>
  <TotalTime>0</TotalTime>
  <Words>397</Words>
  <Application>Microsoft Macintosh PowerPoint</Application>
  <PresentationFormat>Widescreen</PresentationFormat>
  <Paragraphs>57</Paragraphs>
  <Slides>16</Slides>
  <Notes>4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6</vt:i4>
      </vt:variant>
    </vt:vector>
  </HeadingPairs>
  <TitlesOfParts>
    <vt:vector size="22" baseType="lpstr">
      <vt:lpstr>DIF Stencil</vt:lpstr>
      <vt:lpstr>DIF Semibold</vt:lpstr>
      <vt:lpstr>DIF</vt:lpstr>
      <vt:lpstr>Arial</vt:lpstr>
      <vt:lpstr>DIF PowerPoint DK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Overskrift &amp; Noget</vt:lpstr>
      <vt:lpstr>Overskrift &amp; Noget</vt:lpstr>
      <vt:lpstr>Løbebanerne i grøn nuance</vt:lpstr>
      <vt:lpstr>Pejlemærker  for indsatsmodellen</vt:lpstr>
      <vt:lpstr>Breaker</vt:lpstr>
      <vt:lpstr>PowerPoint-præsentation</vt:lpstr>
      <vt:lpstr>startblokken</vt:lpstr>
      <vt:lpstr>PowerPoint-præsentation</vt:lpstr>
      <vt:lpstr>startblokke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3</cp:revision>
  <dcterms:created xsi:type="dcterms:W3CDTF">2024-10-16T07:07:47Z</dcterms:created>
  <dcterms:modified xsi:type="dcterms:W3CDTF">2026-04-09T07:5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3-06-30T08:18:13</vt:lpwstr>
  </property>
  <property fmtid="{D5CDD505-2E9C-101B-9397-08002B2CF9AE}" pid="3" name="TemplafyTenantId">
    <vt:lpwstr>dif</vt:lpwstr>
  </property>
  <property fmtid="{D5CDD505-2E9C-101B-9397-08002B2CF9AE}" pid="4" name="TemplafyTemplateId">
    <vt:lpwstr>638237098915610100</vt:lpwstr>
  </property>
  <property fmtid="{D5CDD505-2E9C-101B-9397-08002B2CF9AE}" pid="5" name="TemplafyUserProfileId">
    <vt:lpwstr>714270499267149878</vt:lpwstr>
  </property>
  <property fmtid="{D5CDD505-2E9C-101B-9397-08002B2CF9AE}" pid="6" name="TemplafyLanguageCode">
    <vt:lpwstr>da-DK</vt:lpwstr>
  </property>
  <property fmtid="{D5CDD505-2E9C-101B-9397-08002B2CF9AE}" pid="7" name="TemplafyFromBlank">
    <vt:bool>true</vt:bool>
  </property>
  <property fmtid="{D5CDD505-2E9C-101B-9397-08002B2CF9AE}" pid="8" name="ContentTypeId">
    <vt:lpwstr>0x0101007C9DB88DE76CB545BAD1CD091F6662C5</vt:lpwstr>
  </property>
  <property fmtid="{D5CDD505-2E9C-101B-9397-08002B2CF9AE}" pid="9" name="MediaServiceImageTags">
    <vt:lpwstr/>
  </property>
  <property fmtid="{D5CDD505-2E9C-101B-9397-08002B2CF9AE}" pid="10" name="Interessent">
    <vt:lpwstr/>
  </property>
</Properties>
</file>